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2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79" r:id="rId4"/>
    <p:sldId id="280" r:id="rId5"/>
    <p:sldId id="281" r:id="rId6"/>
    <p:sldId id="258" r:id="rId7"/>
    <p:sldId id="260" r:id="rId8"/>
    <p:sldId id="262" r:id="rId9"/>
    <p:sldId id="263" r:id="rId10"/>
  </p:sldIdLst>
  <p:sldSz cx="12192000" cy="6858000"/>
  <p:notesSz cx="6858000" cy="9144000"/>
  <p:embeddedFontLst>
    <p:embeddedFont>
      <p:font typeface="Proxima Nova" panose="020B060402020202020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139" userDrawn="1">
          <p15:clr>
            <a:srgbClr val="A4A3A4"/>
          </p15:clr>
        </p15:guide>
        <p15:guide id="2" pos="1958" userDrawn="1">
          <p15:clr>
            <a:srgbClr val="A4A3A4"/>
          </p15:clr>
        </p15:guide>
      </p15:sldGuideLst>
    </p:ext>
    <p:ext uri="GoogleSlidesCustomDataVersion2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50" roundtripDataSignature="AMtx7mg6fnhCutI2GTcyokpv5tBn+OrzN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B51"/>
    <a:srgbClr val="F093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116" y="96"/>
      </p:cViewPr>
      <p:guideLst>
        <p:guide orient="horz" pos="1139"/>
        <p:guide pos="19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50" Type="http://customschemas.google.com/relationships/presentationmetadata" Target="metadata"/><Relationship Id="rId55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10" Type="http://schemas.openxmlformats.org/officeDocument/2006/relationships/slide" Target="slides/slide9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tuhan Yelseli" userId="S::batuhan.yelseli@fintegral.com.tr::e1126a1f-d490-470b-80e9-57d2ed9dcaf7" providerId="AD" clId="Web-{A92382C0-02AA-E49F-54D1-DEDB00FFF024}"/>
    <pc:docChg chg="modSld">
      <pc:chgData name="Batuhan Yelseli" userId="S::batuhan.yelseli@fintegral.com.tr::e1126a1f-d490-470b-80e9-57d2ed9dcaf7" providerId="AD" clId="Web-{A92382C0-02AA-E49F-54D1-DEDB00FFF024}" dt="2024-12-06T10:01:56.600" v="604" actId="1076"/>
      <pc:docMkLst>
        <pc:docMk/>
      </pc:docMkLst>
      <pc:sldChg chg="modSp">
        <pc:chgData name="Batuhan Yelseli" userId="S::batuhan.yelseli@fintegral.com.tr::e1126a1f-d490-470b-80e9-57d2ed9dcaf7" providerId="AD" clId="Web-{A92382C0-02AA-E49F-54D1-DEDB00FFF024}" dt="2024-12-06T08:29:43.721" v="0" actId="1076"/>
        <pc:sldMkLst>
          <pc:docMk/>
          <pc:sldMk cId="0" sldId="257"/>
        </pc:sldMkLst>
        <pc:cxnChg chg="mod">
          <ac:chgData name="Batuhan Yelseli" userId="S::batuhan.yelseli@fintegral.com.tr::e1126a1f-d490-470b-80e9-57d2ed9dcaf7" providerId="AD" clId="Web-{A92382C0-02AA-E49F-54D1-DEDB00FFF024}" dt="2024-12-06T08:29:43.721" v="0" actId="1076"/>
          <ac:cxnSpMkLst>
            <pc:docMk/>
            <pc:sldMk cId="0" sldId="257"/>
            <ac:cxnSpMk id="11" creationId="{3001EE8E-F5BE-231D-6EA6-DB7BBDB86855}"/>
          </ac:cxnSpMkLst>
        </pc:cxnChg>
      </pc:sldChg>
      <pc:sldChg chg="addSp modSp">
        <pc:chgData name="Batuhan Yelseli" userId="S::batuhan.yelseli@fintegral.com.tr::e1126a1f-d490-470b-80e9-57d2ed9dcaf7" providerId="AD" clId="Web-{A92382C0-02AA-E49F-54D1-DEDB00FFF024}" dt="2024-12-06T08:35:30.903" v="101" actId="20577"/>
        <pc:sldMkLst>
          <pc:docMk/>
          <pc:sldMk cId="1122526701" sldId="268"/>
        </pc:sldMkLst>
        <pc:spChg chg="add mod">
          <ac:chgData name="Batuhan Yelseli" userId="S::batuhan.yelseli@fintegral.com.tr::e1126a1f-d490-470b-80e9-57d2ed9dcaf7" providerId="AD" clId="Web-{A92382C0-02AA-E49F-54D1-DEDB00FFF024}" dt="2024-12-06T08:34:52.542" v="93" actId="20577"/>
          <ac:spMkLst>
            <pc:docMk/>
            <pc:sldMk cId="1122526701" sldId="268"/>
            <ac:spMk id="5" creationId="{99DDF55E-91E3-A350-2EC7-73D9A2314120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5:30.903" v="101" actId="20577"/>
          <ac:spMkLst>
            <pc:docMk/>
            <pc:sldMk cId="1122526701" sldId="268"/>
            <ac:spMk id="6" creationId="{98BE2231-AF47-32B4-4272-64530E7F55A2}"/>
          </ac:spMkLst>
        </pc:spChg>
        <pc:picChg chg="add mod">
          <ac:chgData name="Batuhan Yelseli" userId="S::batuhan.yelseli@fintegral.com.tr::e1126a1f-d490-470b-80e9-57d2ed9dcaf7" providerId="AD" clId="Web-{A92382C0-02AA-E49F-54D1-DEDB00FFF024}" dt="2024-12-06T08:34:08.369" v="81" actId="1076"/>
          <ac:picMkLst>
            <pc:docMk/>
            <pc:sldMk cId="1122526701" sldId="268"/>
            <ac:picMk id="3" creationId="{6BA49D2D-CD86-4AFE-7766-6FAB6BCD9078}"/>
          </ac:picMkLst>
        </pc:picChg>
        <pc:picChg chg="add mod">
          <ac:chgData name="Batuhan Yelseli" userId="S::batuhan.yelseli@fintegral.com.tr::e1126a1f-d490-470b-80e9-57d2ed9dcaf7" providerId="AD" clId="Web-{A92382C0-02AA-E49F-54D1-DEDB00FFF024}" dt="2024-12-06T08:34:02.463" v="79" actId="1076"/>
          <ac:picMkLst>
            <pc:docMk/>
            <pc:sldMk cId="1122526701" sldId="268"/>
            <ac:picMk id="7" creationId="{AC9D47BC-5D0D-371D-08C3-7A9887600E04}"/>
          </ac:picMkLst>
        </pc:picChg>
      </pc:sldChg>
      <pc:sldChg chg="addSp modSp">
        <pc:chgData name="Batuhan Yelseli" userId="S::batuhan.yelseli@fintegral.com.tr::e1126a1f-d490-470b-80e9-57d2ed9dcaf7" providerId="AD" clId="Web-{A92382C0-02AA-E49F-54D1-DEDB00FFF024}" dt="2024-12-06T08:37:12.234" v="109" actId="1076"/>
        <pc:sldMkLst>
          <pc:docMk/>
          <pc:sldMk cId="2878824308" sldId="269"/>
        </pc:sldMkLst>
        <pc:spChg chg="mod">
          <ac:chgData name="Batuhan Yelseli" userId="S::batuhan.yelseli@fintegral.com.tr::e1126a1f-d490-470b-80e9-57d2ed9dcaf7" providerId="AD" clId="Web-{A92382C0-02AA-E49F-54D1-DEDB00FFF024}" dt="2024-12-06T08:37:04.218" v="106" actId="20577"/>
          <ac:spMkLst>
            <pc:docMk/>
            <pc:sldMk cId="2878824308" sldId="269"/>
            <ac:spMk id="6" creationId="{D6C4CAB4-01CD-6207-8740-5ADB279F594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09.202" v="108" actId="1076"/>
          <ac:spMkLst>
            <pc:docMk/>
            <pc:sldMk cId="2878824308" sldId="269"/>
            <ac:spMk id="7" creationId="{D3E8EA87-270D-20D7-027E-F5580FF5C0F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12.234" v="109" actId="1076"/>
          <ac:spMkLst>
            <pc:docMk/>
            <pc:sldMk cId="2878824308" sldId="269"/>
            <ac:spMk id="9" creationId="{3B261800-B3BD-FA5E-63B5-288A81F51A41}"/>
          </ac:spMkLst>
        </pc:spChg>
        <pc:picChg chg="add mod">
          <ac:chgData name="Batuhan Yelseli" userId="S::batuhan.yelseli@fintegral.com.tr::e1126a1f-d490-470b-80e9-57d2ed9dcaf7" providerId="AD" clId="Web-{A92382C0-02AA-E49F-54D1-DEDB00FFF024}" dt="2024-12-06T08:37:06.468" v="107" actId="1076"/>
          <ac:picMkLst>
            <pc:docMk/>
            <pc:sldMk cId="2878824308" sldId="269"/>
            <ac:picMk id="3" creationId="{1240CB1D-D06A-E3E9-9869-7A3E2BEBF55F}"/>
          </ac:picMkLst>
        </pc:picChg>
      </pc:sldChg>
      <pc:sldChg chg="modSp">
        <pc:chgData name="Batuhan Yelseli" userId="S::batuhan.yelseli@fintegral.com.tr::e1126a1f-d490-470b-80e9-57d2ed9dcaf7" providerId="AD" clId="Web-{A92382C0-02AA-E49F-54D1-DEDB00FFF024}" dt="2024-12-06T08:37:53.235" v="125" actId="1076"/>
        <pc:sldMkLst>
          <pc:docMk/>
          <pc:sldMk cId="1541300719" sldId="270"/>
        </pc:sldMkLst>
        <pc:spChg chg="mod">
          <ac:chgData name="Batuhan Yelseli" userId="S::batuhan.yelseli@fintegral.com.tr::e1126a1f-d490-470b-80e9-57d2ed9dcaf7" providerId="AD" clId="Web-{A92382C0-02AA-E49F-54D1-DEDB00FFF024}" dt="2024-12-06T08:37:22.078" v="110" actId="14100"/>
          <ac:spMkLst>
            <pc:docMk/>
            <pc:sldMk cId="1541300719" sldId="270"/>
            <ac:spMk id="4" creationId="{F9CE3DE9-3B1A-25F4-FD4A-AA2A25D9BE48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53.235" v="125" actId="1076"/>
          <ac:spMkLst>
            <pc:docMk/>
            <pc:sldMk cId="1541300719" sldId="270"/>
            <ac:spMk id="6" creationId="{20D491AA-92CD-4C9C-CFC7-6E7C4BC70299}"/>
          </ac:spMkLst>
        </pc:spChg>
      </pc:sldChg>
      <pc:sldChg chg="addSp modSp">
        <pc:chgData name="Batuhan Yelseli" userId="S::batuhan.yelseli@fintegral.com.tr::e1126a1f-d490-470b-80e9-57d2ed9dcaf7" providerId="AD" clId="Web-{A92382C0-02AA-E49F-54D1-DEDB00FFF024}" dt="2024-12-06T08:46:33.547" v="351" actId="20577"/>
        <pc:sldMkLst>
          <pc:docMk/>
          <pc:sldMk cId="1540078872" sldId="271"/>
        </pc:sldMkLst>
        <pc:spChg chg="add mod">
          <ac:chgData name="Batuhan Yelseli" userId="S::batuhan.yelseli@fintegral.com.tr::e1126a1f-d490-470b-80e9-57d2ed9dcaf7" providerId="AD" clId="Web-{A92382C0-02AA-E49F-54D1-DEDB00FFF024}" dt="2024-12-06T08:46:33.547" v="351" actId="20577"/>
          <ac:spMkLst>
            <pc:docMk/>
            <pc:sldMk cId="1540078872" sldId="271"/>
            <ac:spMk id="3" creationId="{F58FBC98-769B-6137-BAC2-E6889CA1533A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8:13.579" v="126" actId="1076"/>
          <ac:spMkLst>
            <pc:docMk/>
            <pc:sldMk cId="1540078872" sldId="271"/>
            <ac:spMk id="6" creationId="{EF4D42E7-5A5B-C786-19E2-6C0D5122BE5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8:17.970" v="127" actId="1076"/>
          <ac:spMkLst>
            <pc:docMk/>
            <pc:sldMk cId="1540078872" sldId="271"/>
            <ac:spMk id="9" creationId="{2F4D2E5F-3390-294E-AE08-7DB3C82659F4}"/>
          </ac:spMkLst>
        </pc:spChg>
      </pc:sldChg>
      <pc:sldChg chg="addSp delSp modSp">
        <pc:chgData name="Batuhan Yelseli" userId="S::batuhan.yelseli@fintegral.com.tr::e1126a1f-d490-470b-80e9-57d2ed9dcaf7" providerId="AD" clId="Web-{A92382C0-02AA-E49F-54D1-DEDB00FFF024}" dt="2024-12-06T08:50:43.757" v="587"/>
        <pc:sldMkLst>
          <pc:docMk/>
          <pc:sldMk cId="3826332343" sldId="272"/>
        </pc:sldMkLst>
        <pc:graphicFrameChg chg="add del mod">
          <ac:chgData name="Batuhan Yelseli" userId="S::batuhan.yelseli@fintegral.com.tr::e1126a1f-d490-470b-80e9-57d2ed9dcaf7" providerId="AD" clId="Web-{A92382C0-02AA-E49F-54D1-DEDB00FFF024}" dt="2024-12-06T08:46:29.140" v="206"/>
          <ac:graphicFrameMkLst>
            <pc:docMk/>
            <pc:sldMk cId="3826332343" sldId="272"/>
            <ac:graphicFrameMk id="3" creationId="{BA1DE34E-2BA7-A523-B928-635475677594}"/>
          </ac:graphicFrameMkLst>
        </pc:graphicFrameChg>
        <pc:graphicFrameChg chg="add del mod modGraphic">
          <ac:chgData name="Batuhan Yelseli" userId="S::batuhan.yelseli@fintegral.com.tr::e1126a1f-d490-470b-80e9-57d2ed9dcaf7" providerId="AD" clId="Web-{A92382C0-02AA-E49F-54D1-DEDB00FFF024}" dt="2024-12-06T08:50:43.757" v="587"/>
          <ac:graphicFrameMkLst>
            <pc:docMk/>
            <pc:sldMk cId="3826332343" sldId="272"/>
            <ac:graphicFrameMk id="11" creationId="{D4E86906-139D-83A2-B5DD-E2BE29B5B7E8}"/>
          </ac:graphicFrameMkLst>
        </pc:graphicFrameChg>
      </pc:sldChg>
      <pc:sldChg chg="modSp">
        <pc:chgData name="Batuhan Yelseli" userId="S::batuhan.yelseli@fintegral.com.tr::e1126a1f-d490-470b-80e9-57d2ed9dcaf7" providerId="AD" clId="Web-{A92382C0-02AA-E49F-54D1-DEDB00FFF024}" dt="2024-12-06T10:01:56.600" v="604" actId="1076"/>
        <pc:sldMkLst>
          <pc:docMk/>
          <pc:sldMk cId="173792906" sldId="282"/>
        </pc:sldMkLst>
        <pc:spChg chg="mod">
          <ac:chgData name="Batuhan Yelseli" userId="S::batuhan.yelseli@fintegral.com.tr::e1126a1f-d490-470b-80e9-57d2ed9dcaf7" providerId="AD" clId="Web-{A92382C0-02AA-E49F-54D1-DEDB00FFF024}" dt="2024-12-06T10:01:37.303" v="600" actId="1076"/>
          <ac:spMkLst>
            <pc:docMk/>
            <pc:sldMk cId="173792906" sldId="282"/>
            <ac:spMk id="17" creationId="{89662DE6-4341-CDF2-B39E-79FEB5FFF5F9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56.600" v="604" actId="1076"/>
          <ac:spMkLst>
            <pc:docMk/>
            <pc:sldMk cId="173792906" sldId="282"/>
            <ac:spMk id="22" creationId="{28D9B5E8-8955-AAD7-B852-46635913F1CF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40" v="597" actId="1076"/>
          <ac:spMkLst>
            <pc:docMk/>
            <pc:sldMk cId="173792906" sldId="282"/>
            <ac:spMk id="23" creationId="{30954708-0DAB-0356-2C83-28A99F16B070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56" v="598" actId="1076"/>
          <ac:spMkLst>
            <pc:docMk/>
            <pc:sldMk cId="173792906" sldId="282"/>
            <ac:spMk id="24" creationId="{0EE67AC4-53A4-DAAB-AC16-1E206A55B678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87" v="599" actId="1076"/>
          <ac:spMkLst>
            <pc:docMk/>
            <pc:sldMk cId="173792906" sldId="282"/>
            <ac:spMk id="26" creationId="{9B7FA586-2C05-8591-D029-3B25481E7444}"/>
          </ac:spMkLst>
        </pc:spChg>
        <pc:picChg chg="mod">
          <ac:chgData name="Batuhan Yelseli" userId="S::batuhan.yelseli@fintegral.com.tr::e1126a1f-d490-470b-80e9-57d2ed9dcaf7" providerId="AD" clId="Web-{A92382C0-02AA-E49F-54D1-DEDB00FFF024}" dt="2024-12-06T10:01:37.334" v="602" actId="1076"/>
          <ac:picMkLst>
            <pc:docMk/>
            <pc:sldMk cId="173792906" sldId="282"/>
            <ac:picMk id="6" creationId="{633FA63A-84EB-AF5C-A666-88D49D6AE4B5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193" v="594" actId="1076"/>
          <ac:picMkLst>
            <pc:docMk/>
            <pc:sldMk cId="173792906" sldId="282"/>
            <ac:picMk id="8" creationId="{8710B19A-9845-1F3B-1FA0-870AB7C8B318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209" v="595" actId="1076"/>
          <ac:picMkLst>
            <pc:docMk/>
            <pc:sldMk cId="173792906" sldId="282"/>
            <ac:picMk id="12" creationId="{8B365F46-BB10-7B4D-767A-ECE0DDBBE5BF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225" v="596" actId="1076"/>
          <ac:picMkLst>
            <pc:docMk/>
            <pc:sldMk cId="173792906" sldId="282"/>
            <ac:picMk id="16" creationId="{00109AB0-C54E-5DFC-B26C-A725305701C9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350" v="603" actId="1076"/>
          <ac:picMkLst>
            <pc:docMk/>
            <pc:sldMk cId="173792906" sldId="282"/>
            <ac:picMk id="21" creationId="{F3B6D292-5F06-DDD6-B10E-E50930B55CCB}"/>
          </ac:picMkLst>
        </pc:picChg>
      </pc:sldChg>
    </pc:docChg>
  </pc:docChgLst>
  <pc:docChgLst>
    <pc:chgData name="Batuhan Yelseli" userId="e1126a1f-d490-470b-80e9-57d2ed9dcaf7" providerId="ADAL" clId="{B5532810-4962-4077-947D-87F9D59BCCE6}"/>
    <pc:docChg chg="undo custSel addSld delSld modSld modMainMaster">
      <pc:chgData name="Batuhan Yelseli" userId="e1126a1f-d490-470b-80e9-57d2ed9dcaf7" providerId="ADAL" clId="{B5532810-4962-4077-947D-87F9D59BCCE6}" dt="2024-12-04T11:19:38.381" v="132"/>
      <pc:docMkLst>
        <pc:docMk/>
      </pc:docMkLst>
      <pc:sldChg chg="addSp delSp modSp mod">
        <pc:chgData name="Batuhan Yelseli" userId="e1126a1f-d490-470b-80e9-57d2ed9dcaf7" providerId="ADAL" clId="{B5532810-4962-4077-947D-87F9D59BCCE6}" dt="2024-12-04T11:19:10.638" v="68"/>
        <pc:sldMkLst>
          <pc:docMk/>
          <pc:sldMk cId="0" sldId="261"/>
        </pc:sldMkLst>
      </pc:sldChg>
      <pc:sldChg chg="new del">
        <pc:chgData name="Batuhan Yelseli" userId="e1126a1f-d490-470b-80e9-57d2ed9dcaf7" providerId="ADAL" clId="{B5532810-4962-4077-947D-87F9D59BCCE6}" dt="2024-12-04T11:19:08.778" v="59" actId="680"/>
        <pc:sldMkLst>
          <pc:docMk/>
          <pc:sldMk cId="1945874810" sldId="290"/>
        </pc:sldMkLst>
      </pc:sldChg>
      <pc:sldChg chg="addSp delSp modSp new mod">
        <pc:chgData name="Batuhan Yelseli" userId="e1126a1f-d490-470b-80e9-57d2ed9dcaf7" providerId="ADAL" clId="{B5532810-4962-4077-947D-87F9D59BCCE6}" dt="2024-12-04T11:19:38.381" v="132"/>
        <pc:sldMkLst>
          <pc:docMk/>
          <pc:sldMk cId="3193571855" sldId="290"/>
        </pc:sldMkLst>
        <pc:spChg chg="mod">
          <ac:chgData name="Batuhan Yelseli" userId="e1126a1f-d490-470b-80e9-57d2ed9dcaf7" providerId="ADAL" clId="{B5532810-4962-4077-947D-87F9D59BCCE6}" dt="2024-12-04T11:19:38.368" v="109" actId="948"/>
          <ac:spMkLst>
            <pc:docMk/>
            <pc:sldMk cId="3193571855" sldId="290"/>
            <ac:spMk id="2" creationId="{6231ADF8-D8A5-CEF5-9CA7-03538B0DD22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4" creationId="{9F825A32-7833-6BAF-CBF3-478088D11CB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5" creationId="{AB4570C8-B58F-3A08-E966-C1C61B2183DB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6" creationId="{91F0DBAA-FDD0-7DC2-FD19-967F91B0ACAD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7" creationId="{7DF7B0CD-57E2-4259-08A9-961F59D486AD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8" creationId="{2EDD5668-E916-E4EC-8956-ED95FA788DE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9" creationId="{7FFEBE5F-8FBF-91F7-DFCB-611627BADE67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0" creationId="{008FE103-D2F6-AE43-6A71-DA37069F6EF5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1" creationId="{804BC8A2-D903-66B7-1BEA-53952B948CF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2" creationId="{6D1EA027-2196-67B9-99A9-35EFFB445A8E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3" creationId="{CDD4F34F-8B1E-DB46-46F1-D64A6ABA9B73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4" creationId="{672275E0-BF61-762B-6F8A-DEB31DA8F0D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5" creationId="{2D887A58-A5E7-87DE-7A3A-478A0F015F7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7" creationId="{047CFC0B-3DC6-CAAE-0FBD-B2C3CC84BACE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9" creationId="{00EA7435-460C-448D-0483-5F0F0029C09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20" creationId="{DABE8333-3AD4-FC21-FEA8-8633F3D45F67}"/>
          </ac:spMkLst>
        </pc:spChg>
        <pc:graphicFrameChg chg="add mod ord modVis">
          <ac:chgData name="Batuhan Yelseli" userId="e1126a1f-d490-470b-80e9-57d2ed9dcaf7" providerId="ADAL" clId="{B5532810-4962-4077-947D-87F9D59BCCE6}" dt="2024-12-04T11:19:38.381" v="132"/>
          <ac:graphicFrameMkLst>
            <pc:docMk/>
            <pc:sldMk cId="3193571855" sldId="290"/>
            <ac:graphicFrameMk id="22" creationId="{E921E7B9-6D29-C4E7-BC34-7F310B85C08D}"/>
          </ac:graphicFrameMkLst>
        </pc:graphicFrameChg>
        <pc:cxnChg chg="add mod">
          <ac:chgData name="Batuhan Yelseli" userId="e1126a1f-d490-470b-80e9-57d2ed9dcaf7" providerId="ADAL" clId="{B5532810-4962-4077-947D-87F9D59BCCE6}" dt="2024-12-04T11:19:30.604" v="70"/>
          <ac:cxnSpMkLst>
            <pc:docMk/>
            <pc:sldMk cId="3193571855" sldId="290"/>
            <ac:cxnSpMk id="3" creationId="{7B854B94-A5AB-3EE2-F538-B7274FF31BD2}"/>
          </ac:cxnSpMkLst>
        </pc:cxnChg>
      </pc:sldChg>
      <pc:sldMasterChg chg="modSldLayout">
        <pc:chgData name="Batuhan Yelseli" userId="e1126a1f-d490-470b-80e9-57d2ed9dcaf7" providerId="ADAL" clId="{B5532810-4962-4077-947D-87F9D59BCCE6}" dt="2024-12-04T11:18:51.144" v="43"/>
        <pc:sldMasterMkLst>
          <pc:docMk/>
          <pc:sldMasterMk cId="0" sldId="2147483648"/>
        </pc:sldMasterMkLst>
        <pc:sldLayoutChg chg="addSp modSp mod">
          <pc:chgData name="Batuhan Yelseli" userId="e1126a1f-d490-470b-80e9-57d2ed9dcaf7" providerId="ADAL" clId="{B5532810-4962-4077-947D-87F9D59BCCE6}" dt="2024-12-04T11:18:51.144" v="43"/>
          <pc:sldLayoutMkLst>
            <pc:docMk/>
            <pc:sldMasterMk cId="0" sldId="2147483648"/>
            <pc:sldLayoutMk cId="0" sldId="2147483652"/>
          </pc:sldLayoutMkLst>
          <pc:spChg chg="mod">
            <ac:chgData name="Batuhan Yelseli" userId="e1126a1f-d490-470b-80e9-57d2ed9dcaf7" providerId="ADAL" clId="{B5532810-4962-4077-947D-87F9D59BCCE6}" dt="2024-12-04T11:18:50.626" v="41" actId="1035"/>
            <ac:spMkLst>
              <pc:docMk/>
              <pc:sldMasterMk cId="0" sldId="2147483648"/>
              <pc:sldLayoutMk cId="0" sldId="2147483652"/>
              <ac:spMk id="23" creationId="{00000000-0000-0000-0000-000000000000}"/>
            </ac:spMkLst>
          </pc:spChg>
          <pc:graphicFrameChg chg="add mod ord modVis">
            <ac:chgData name="Batuhan Yelseli" userId="e1126a1f-d490-470b-80e9-57d2ed9dcaf7" providerId="ADAL" clId="{B5532810-4962-4077-947D-87F9D59BCCE6}" dt="2024-12-04T11:18:51.144" v="43"/>
            <ac:graphicFrameMkLst>
              <pc:docMk/>
              <pc:sldMasterMk cId="0" sldId="2147483648"/>
              <pc:sldLayoutMk cId="0" sldId="2147483652"/>
              <ac:graphicFrameMk id="2" creationId="{64780306-8FDB-37DB-CC83-A9D3E550B99E}"/>
            </ac:graphicFrameMkLst>
          </pc:graphicFrameChg>
        </pc:sldLayoutChg>
      </pc:sldMasterChg>
    </pc:docChg>
  </pc:docChgLst>
  <pc:docChgLst>
    <pc:chgData name="Oğuz Öztekin" userId="33c0df0f-d5fe-4bda-8f43-141ad7af67e3" providerId="ADAL" clId="{48B824AD-1B2A-47A8-8D92-6FE6E622A650}"/>
    <pc:docChg chg="undo custSel addSld delSld modSld sldOrd">
      <pc:chgData name="Oğuz Öztekin" userId="33c0df0f-d5fe-4bda-8f43-141ad7af67e3" providerId="ADAL" clId="{48B824AD-1B2A-47A8-8D92-6FE6E622A650}" dt="2024-12-16T09:21:02.881" v="26003"/>
      <pc:docMkLst>
        <pc:docMk/>
      </pc:docMkLst>
      <pc:sldChg chg="del">
        <pc:chgData name="Oğuz Öztekin" userId="33c0df0f-d5fe-4bda-8f43-141ad7af67e3" providerId="ADAL" clId="{48B824AD-1B2A-47A8-8D92-6FE6E622A650}" dt="2024-12-16T09:07:14.023" v="0" actId="2696"/>
        <pc:sldMkLst>
          <pc:docMk/>
          <pc:sldMk cId="0" sldId="259"/>
        </pc:sldMkLst>
      </pc:sldChg>
      <pc:sldChg chg="del">
        <pc:chgData name="Oğuz Öztekin" userId="33c0df0f-d5fe-4bda-8f43-141ad7af67e3" providerId="ADAL" clId="{48B824AD-1B2A-47A8-8D92-6FE6E622A650}" dt="2024-12-16T09:07:17.621" v="2" actId="2696"/>
        <pc:sldMkLst>
          <pc:docMk/>
          <pc:sldMk cId="1507332737" sldId="264"/>
        </pc:sldMkLst>
      </pc:sldChg>
      <pc:sldChg chg="del">
        <pc:chgData name="Oğuz Öztekin" userId="33c0df0f-d5fe-4bda-8f43-141ad7af67e3" providerId="ADAL" clId="{48B824AD-1B2A-47A8-8D92-6FE6E622A650}" dt="2024-12-16T09:07:18.507" v="3" actId="2696"/>
        <pc:sldMkLst>
          <pc:docMk/>
          <pc:sldMk cId="3866243125" sldId="265"/>
        </pc:sldMkLst>
      </pc:sldChg>
      <pc:sldChg chg="del">
        <pc:chgData name="Oğuz Öztekin" userId="33c0df0f-d5fe-4bda-8f43-141ad7af67e3" providerId="ADAL" clId="{48B824AD-1B2A-47A8-8D92-6FE6E622A650}" dt="2024-12-16T09:07:32.335" v="17" actId="2696"/>
        <pc:sldMkLst>
          <pc:docMk/>
          <pc:sldMk cId="181281364" sldId="266"/>
        </pc:sldMkLst>
      </pc:sldChg>
      <pc:sldChg chg="del">
        <pc:chgData name="Oğuz Öztekin" userId="33c0df0f-d5fe-4bda-8f43-141ad7af67e3" providerId="ADAL" clId="{48B824AD-1B2A-47A8-8D92-6FE6E622A650}" dt="2024-12-16T09:07:33.713" v="22" actId="2696"/>
        <pc:sldMkLst>
          <pc:docMk/>
          <pc:sldMk cId="82166624" sldId="267"/>
        </pc:sldMkLst>
      </pc:sldChg>
      <pc:sldChg chg="del">
        <pc:chgData name="Oğuz Öztekin" userId="33c0df0f-d5fe-4bda-8f43-141ad7af67e3" providerId="ADAL" clId="{48B824AD-1B2A-47A8-8D92-6FE6E622A650}" dt="2024-12-16T09:07:33.992" v="23" actId="2696"/>
        <pc:sldMkLst>
          <pc:docMk/>
          <pc:sldMk cId="1122526701" sldId="268"/>
        </pc:sldMkLst>
      </pc:sldChg>
      <pc:sldChg chg="del">
        <pc:chgData name="Oğuz Öztekin" userId="33c0df0f-d5fe-4bda-8f43-141ad7af67e3" providerId="ADAL" clId="{48B824AD-1B2A-47A8-8D92-6FE6E622A650}" dt="2024-12-16T09:07:34.287" v="24" actId="2696"/>
        <pc:sldMkLst>
          <pc:docMk/>
          <pc:sldMk cId="2878824308" sldId="269"/>
        </pc:sldMkLst>
      </pc:sldChg>
      <pc:sldChg chg="del">
        <pc:chgData name="Oğuz Öztekin" userId="33c0df0f-d5fe-4bda-8f43-141ad7af67e3" providerId="ADAL" clId="{48B824AD-1B2A-47A8-8D92-6FE6E622A650}" dt="2024-12-16T09:07:34.551" v="25" actId="2696"/>
        <pc:sldMkLst>
          <pc:docMk/>
          <pc:sldMk cId="1541300719" sldId="270"/>
        </pc:sldMkLst>
      </pc:sldChg>
      <pc:sldChg chg="del">
        <pc:chgData name="Oğuz Öztekin" userId="33c0df0f-d5fe-4bda-8f43-141ad7af67e3" providerId="ADAL" clId="{48B824AD-1B2A-47A8-8D92-6FE6E622A650}" dt="2024-12-16T09:07:34.815" v="26" actId="2696"/>
        <pc:sldMkLst>
          <pc:docMk/>
          <pc:sldMk cId="1540078872" sldId="271"/>
        </pc:sldMkLst>
      </pc:sldChg>
      <pc:sldChg chg="del">
        <pc:chgData name="Oğuz Öztekin" userId="33c0df0f-d5fe-4bda-8f43-141ad7af67e3" providerId="ADAL" clId="{48B824AD-1B2A-47A8-8D92-6FE6E622A650}" dt="2024-12-16T09:07:35.087" v="27" actId="2696"/>
        <pc:sldMkLst>
          <pc:docMk/>
          <pc:sldMk cId="3826332343" sldId="272"/>
        </pc:sldMkLst>
      </pc:sldChg>
      <pc:sldChg chg="del">
        <pc:chgData name="Oğuz Öztekin" userId="33c0df0f-d5fe-4bda-8f43-141ad7af67e3" providerId="ADAL" clId="{48B824AD-1B2A-47A8-8D92-6FE6E622A650}" dt="2024-12-16T09:07:35.324" v="28" actId="2696"/>
        <pc:sldMkLst>
          <pc:docMk/>
          <pc:sldMk cId="3259337092" sldId="273"/>
        </pc:sldMkLst>
      </pc:sldChg>
      <pc:sldChg chg="del">
        <pc:chgData name="Oğuz Öztekin" userId="33c0df0f-d5fe-4bda-8f43-141ad7af67e3" providerId="ADAL" clId="{48B824AD-1B2A-47A8-8D92-6FE6E622A650}" dt="2024-12-16T09:07:35.591" v="29" actId="2696"/>
        <pc:sldMkLst>
          <pc:docMk/>
          <pc:sldMk cId="733251670" sldId="274"/>
        </pc:sldMkLst>
      </pc:sldChg>
      <pc:sldChg chg="del">
        <pc:chgData name="Oğuz Öztekin" userId="33c0df0f-d5fe-4bda-8f43-141ad7af67e3" providerId="ADAL" clId="{48B824AD-1B2A-47A8-8D92-6FE6E622A650}" dt="2024-12-16T09:07:35.914" v="30" actId="2696"/>
        <pc:sldMkLst>
          <pc:docMk/>
          <pc:sldMk cId="2383931753" sldId="275"/>
        </pc:sldMkLst>
      </pc:sldChg>
      <pc:sldChg chg="del">
        <pc:chgData name="Oğuz Öztekin" userId="33c0df0f-d5fe-4bda-8f43-141ad7af67e3" providerId="ADAL" clId="{48B824AD-1B2A-47A8-8D92-6FE6E622A650}" dt="2024-12-16T09:07:36.293" v="31" actId="2696"/>
        <pc:sldMkLst>
          <pc:docMk/>
          <pc:sldMk cId="1692785580" sldId="276"/>
        </pc:sldMkLst>
      </pc:sldChg>
      <pc:sldChg chg="del">
        <pc:chgData name="Oğuz Öztekin" userId="33c0df0f-d5fe-4bda-8f43-141ad7af67e3" providerId="ADAL" clId="{48B824AD-1B2A-47A8-8D92-6FE6E622A650}" dt="2024-12-16T09:07:36.594" v="32" actId="2696"/>
        <pc:sldMkLst>
          <pc:docMk/>
          <pc:sldMk cId="965457765" sldId="277"/>
        </pc:sldMkLst>
      </pc:sldChg>
      <pc:sldChg chg="del">
        <pc:chgData name="Oğuz Öztekin" userId="33c0df0f-d5fe-4bda-8f43-141ad7af67e3" providerId="ADAL" clId="{48B824AD-1B2A-47A8-8D92-6FE6E622A650}" dt="2024-12-16T09:07:36.988" v="33" actId="2696"/>
        <pc:sldMkLst>
          <pc:docMk/>
          <pc:sldMk cId="2403856464" sldId="278"/>
        </pc:sldMkLst>
      </pc:sldChg>
      <pc:sldChg chg="addSp delSp modSp mod ord">
        <pc:chgData name="Oğuz Öztekin" userId="33c0df0f-d5fe-4bda-8f43-141ad7af67e3" providerId="ADAL" clId="{48B824AD-1B2A-47A8-8D92-6FE6E622A650}" dt="2024-12-16T09:21:02.881" v="26003"/>
        <pc:sldMkLst>
          <pc:docMk/>
          <pc:sldMk cId="865606007" sldId="279"/>
        </pc:sldMkLst>
        <pc:spChg chg="mod ord">
          <ac:chgData name="Oğuz Öztekin" userId="33c0df0f-d5fe-4bda-8f43-141ad7af67e3" providerId="ADAL" clId="{48B824AD-1B2A-47A8-8D92-6FE6E622A650}" dt="2024-12-16T09:21:02.871" v="25965"/>
          <ac:spMkLst>
            <pc:docMk/>
            <pc:sldMk cId="865606007" sldId="279"/>
            <ac:spMk id="2" creationId="{00877133-0E9A-69CF-2FAE-FB2A3737F156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4" creationId="{38DD05A3-C124-C8C0-11A3-CB08A7634708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5" creationId="{F8FC18A7-339E-CF43-32CE-6439B283735C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7" creationId="{C3CD908B-1EBE-8449-BDAC-2F31AD5F7C2B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8" creationId="{475EAD81-B98B-7764-BB29-4F275B1F24CF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9" creationId="{7DCA9FB9-2D5C-1AEF-41C2-D76AC174D328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0" creationId="{F3FCB77A-55C7-18DD-2B15-ADF2F52F8B32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1" creationId="{D09CF111-B296-39B0-492D-E1DC04BF1883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2" creationId="{67BFD08D-46FA-E268-AE56-3044B084333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3" creationId="{F3A6F51C-2676-F2F5-2953-7EDBDA13FA94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4" creationId="{75B81D1A-9A87-4938-9C9B-5BAA38CDCDD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5" creationId="{27792BD1-7571-A669-6211-E3FA6DD43B51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6" creationId="{4AA8E4AE-8D6B-16DE-3429-CCF836499737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7" creationId="{700AEB80-7F5A-8BA4-8EF5-967C5ED57B4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8" creationId="{B5090CB9-9480-DDB7-3B61-54E103459FBE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9" creationId="{8E517B92-4C3F-827A-13F9-E04394549920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0" creationId="{90487A92-EFC4-A902-93DA-92B011FFBEF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1" creationId="{74856E13-CCD5-B892-9C54-21AF36E911FF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2" creationId="{23D614E9-B997-DD2C-0E1B-F82C1F5137B6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3" creationId="{AEF6D0C5-7AF0-CB53-E62D-DF08589F8494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4" creationId="{EDB33F95-73F1-8A61-F817-81F7C8C9773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5" creationId="{15CB74E9-D3DD-F893-A57B-A8385AE093D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30" creationId="{354B0E8F-6DDE-388E-5679-131E85BE6F68}"/>
          </ac:spMkLst>
        </pc:spChg>
        <pc:spChg chg="add del mod modVis">
          <ac:chgData name="Oğuz Öztekin" userId="33c0df0f-d5fe-4bda-8f43-141ad7af67e3" providerId="ADAL" clId="{48B824AD-1B2A-47A8-8D92-6FE6E622A650}" dt="2024-12-16T09:08:04.218" v="630"/>
          <ac:spMkLst>
            <pc:docMk/>
            <pc:sldMk cId="865606007" sldId="279"/>
            <ac:spMk id="31" creationId="{6752CA3A-19EB-74FE-6764-9C6577220BC7}"/>
          </ac:spMkLst>
        </pc:spChg>
        <pc:spChg chg="add del mod">
          <ac:chgData name="Oğuz Öztekin" userId="33c0df0f-d5fe-4bda-8f43-141ad7af67e3" providerId="ADAL" clId="{48B824AD-1B2A-47A8-8D92-6FE6E622A650}" dt="2024-12-16T09:17:24.772" v="17922"/>
          <ac:spMkLst>
            <pc:docMk/>
            <pc:sldMk cId="865606007" sldId="279"/>
            <ac:spMk id="32" creationId="{DD5D3F8E-4D94-3F77-70C3-5020CCD7DC8A}"/>
          </ac:spMkLst>
        </pc:spChg>
        <pc:spChg chg="add del mod">
          <ac:chgData name="Oğuz Öztekin" userId="33c0df0f-d5fe-4bda-8f43-141ad7af67e3" providerId="ADAL" clId="{48B824AD-1B2A-47A8-8D92-6FE6E622A650}" dt="2024-12-16T09:10:20.101" v="5788"/>
          <ac:spMkLst>
            <pc:docMk/>
            <pc:sldMk cId="865606007" sldId="279"/>
            <ac:spMk id="33" creationId="{D3D8896E-BC8D-CA86-CD58-FDD884C3D5D2}"/>
          </ac:spMkLst>
        </pc:spChg>
        <pc:spChg chg="add del mod">
          <ac:chgData name="Oğuz Öztekin" userId="33c0df0f-d5fe-4bda-8f43-141ad7af67e3" providerId="ADAL" clId="{48B824AD-1B2A-47A8-8D92-6FE6E622A650}" dt="2024-12-16T09:10:20.102" v="5790"/>
          <ac:spMkLst>
            <pc:docMk/>
            <pc:sldMk cId="865606007" sldId="279"/>
            <ac:spMk id="34" creationId="{B89552BA-23FC-5598-8131-269CAB2EA3CC}"/>
          </ac:spMkLst>
        </pc:spChg>
        <pc:spChg chg="add mod">
          <ac:chgData name="Oğuz Öztekin" userId="33c0df0f-d5fe-4bda-8f43-141ad7af67e3" providerId="ADAL" clId="{48B824AD-1B2A-47A8-8D92-6FE6E622A650}" dt="2024-12-16T09:21:02.872" v="25969"/>
          <ac:spMkLst>
            <pc:docMk/>
            <pc:sldMk cId="865606007" sldId="279"/>
            <ac:spMk id="35" creationId="{038E9C82-A4B7-58C3-6687-FB2E7EEE99E6}"/>
          </ac:spMkLst>
        </pc:spChg>
        <pc:spChg chg="add mod">
          <ac:chgData name="Oğuz Öztekin" userId="33c0df0f-d5fe-4bda-8f43-141ad7af67e3" providerId="ADAL" clId="{48B824AD-1B2A-47A8-8D92-6FE6E622A650}" dt="2024-12-16T09:21:02.872" v="25972"/>
          <ac:spMkLst>
            <pc:docMk/>
            <pc:sldMk cId="865606007" sldId="279"/>
            <ac:spMk id="36" creationId="{528F6AA9-AA56-B794-383C-E99BF71D8300}"/>
          </ac:spMkLst>
        </pc:spChg>
        <pc:spChg chg="add mod">
          <ac:chgData name="Oğuz Öztekin" userId="33c0df0f-d5fe-4bda-8f43-141ad7af67e3" providerId="ADAL" clId="{48B824AD-1B2A-47A8-8D92-6FE6E622A650}" dt="2024-12-16T09:21:02.873" v="25975"/>
          <ac:spMkLst>
            <pc:docMk/>
            <pc:sldMk cId="865606007" sldId="279"/>
            <ac:spMk id="37" creationId="{041B9E9C-7822-E12A-791F-057DBA376E81}"/>
          </ac:spMkLst>
        </pc:spChg>
        <pc:spChg chg="add del mod">
          <ac:chgData name="Oğuz Öztekin" userId="33c0df0f-d5fe-4bda-8f43-141ad7af67e3" providerId="ADAL" clId="{48B824AD-1B2A-47A8-8D92-6FE6E622A650}" dt="2024-12-16T09:10:13.628" v="5228"/>
          <ac:spMkLst>
            <pc:docMk/>
            <pc:sldMk cId="865606007" sldId="279"/>
            <ac:spMk id="38" creationId="{248E70F8-2E33-BFAF-B699-F299E2C3B50A}"/>
          </ac:spMkLst>
        </pc:spChg>
        <pc:spChg chg="add del mod">
          <ac:chgData name="Oğuz Öztekin" userId="33c0df0f-d5fe-4bda-8f43-141ad7af67e3" providerId="ADAL" clId="{48B824AD-1B2A-47A8-8D92-6FE6E622A650}" dt="2024-12-16T09:10:20.103" v="5791"/>
          <ac:spMkLst>
            <pc:docMk/>
            <pc:sldMk cId="865606007" sldId="279"/>
            <ac:spMk id="39" creationId="{CCD8BCD9-D740-BE77-18CD-B5BD57DBA273}"/>
          </ac:spMkLst>
        </pc:spChg>
        <pc:spChg chg="add del mod">
          <ac:chgData name="Oğuz Öztekin" userId="33c0df0f-d5fe-4bda-8f43-141ad7af67e3" providerId="ADAL" clId="{48B824AD-1B2A-47A8-8D92-6FE6E622A650}" dt="2024-12-16T09:10:15.498" v="5424"/>
          <ac:spMkLst>
            <pc:docMk/>
            <pc:sldMk cId="865606007" sldId="279"/>
            <ac:spMk id="40" creationId="{93A3971E-9691-AAE1-3E6A-3662E85234BF}"/>
          </ac:spMkLst>
        </pc:spChg>
        <pc:spChg chg="add del mod">
          <ac:chgData name="Oğuz Öztekin" userId="33c0df0f-d5fe-4bda-8f43-141ad7af67e3" providerId="ADAL" clId="{48B824AD-1B2A-47A8-8D92-6FE6E622A650}" dt="2024-12-16T09:10:20.099" v="5787"/>
          <ac:spMkLst>
            <pc:docMk/>
            <pc:sldMk cId="865606007" sldId="279"/>
            <ac:spMk id="43" creationId="{8EE605C1-396E-6E17-9752-389C6A6700A7}"/>
          </ac:spMkLst>
        </pc:spChg>
        <pc:spChg chg="add del mod">
          <ac:chgData name="Oğuz Öztekin" userId="33c0df0f-d5fe-4bda-8f43-141ad7af67e3" providerId="ADAL" clId="{48B824AD-1B2A-47A8-8D92-6FE6E622A650}" dt="2024-12-16T09:10:20.101" v="5789"/>
          <ac:spMkLst>
            <pc:docMk/>
            <pc:sldMk cId="865606007" sldId="279"/>
            <ac:spMk id="44" creationId="{4CCB52D7-83CE-4153-8BAD-79A72D0CE59C}"/>
          </ac:spMkLst>
        </pc:spChg>
        <pc:spChg chg="add del mod">
          <ac:chgData name="Oğuz Öztekin" userId="33c0df0f-d5fe-4bda-8f43-141ad7af67e3" providerId="ADAL" clId="{48B824AD-1B2A-47A8-8D92-6FE6E622A650}" dt="2024-12-16T09:09:18.009" v="3489"/>
          <ac:spMkLst>
            <pc:docMk/>
            <pc:sldMk cId="865606007" sldId="279"/>
            <ac:spMk id="45" creationId="{B30AD573-7A26-23A7-4674-0AF991B9F9B0}"/>
          </ac:spMkLst>
        </pc:spChg>
        <pc:spChg chg="add del mod">
          <ac:chgData name="Oğuz Öztekin" userId="33c0df0f-d5fe-4bda-8f43-141ad7af67e3" providerId="ADAL" clId="{48B824AD-1B2A-47A8-8D92-6FE6E622A650}" dt="2024-12-16T09:09:18.009" v="3491"/>
          <ac:spMkLst>
            <pc:docMk/>
            <pc:sldMk cId="865606007" sldId="279"/>
            <ac:spMk id="46" creationId="{C01CF7EA-D62E-C5B8-7F87-907A723883AA}"/>
          </ac:spMkLst>
        </pc:spChg>
        <pc:spChg chg="add del mod">
          <ac:chgData name="Oğuz Öztekin" userId="33c0df0f-d5fe-4bda-8f43-141ad7af67e3" providerId="ADAL" clId="{48B824AD-1B2A-47A8-8D92-6FE6E622A650}" dt="2024-12-16T09:09:18.011" v="3493"/>
          <ac:spMkLst>
            <pc:docMk/>
            <pc:sldMk cId="865606007" sldId="279"/>
            <ac:spMk id="47" creationId="{4F8B535A-3AC5-DB29-AAA1-AB6653B44AB6}"/>
          </ac:spMkLst>
        </pc:spChg>
        <pc:spChg chg="add del mod">
          <ac:chgData name="Oğuz Öztekin" userId="33c0df0f-d5fe-4bda-8f43-141ad7af67e3" providerId="ADAL" clId="{48B824AD-1B2A-47A8-8D92-6FE6E622A650}" dt="2024-12-16T09:09:18.012" v="3495"/>
          <ac:spMkLst>
            <pc:docMk/>
            <pc:sldMk cId="865606007" sldId="279"/>
            <ac:spMk id="48" creationId="{B315AFAC-0F49-456E-11E7-2F7D0921D3EE}"/>
          </ac:spMkLst>
        </pc:spChg>
        <pc:spChg chg="add del mod">
          <ac:chgData name="Oğuz Öztekin" userId="33c0df0f-d5fe-4bda-8f43-141ad7af67e3" providerId="ADAL" clId="{48B824AD-1B2A-47A8-8D92-6FE6E622A650}" dt="2024-12-16T09:09:18.012" v="3497"/>
          <ac:spMkLst>
            <pc:docMk/>
            <pc:sldMk cId="865606007" sldId="279"/>
            <ac:spMk id="49" creationId="{AD9682AD-478F-AF30-FEDF-B7AC69062E41}"/>
          </ac:spMkLst>
        </pc:spChg>
        <pc:spChg chg="add del mod">
          <ac:chgData name="Oğuz Öztekin" userId="33c0df0f-d5fe-4bda-8f43-141ad7af67e3" providerId="ADAL" clId="{48B824AD-1B2A-47A8-8D92-6FE6E622A650}" dt="2024-12-16T09:09:18.013" v="3499"/>
          <ac:spMkLst>
            <pc:docMk/>
            <pc:sldMk cId="865606007" sldId="279"/>
            <ac:spMk id="50" creationId="{D957C0D5-829B-2BC5-C137-C8120DF5168E}"/>
          </ac:spMkLst>
        </pc:spChg>
        <pc:spChg chg="add del mod">
          <ac:chgData name="Oğuz Öztekin" userId="33c0df0f-d5fe-4bda-8f43-141ad7af67e3" providerId="ADAL" clId="{48B824AD-1B2A-47A8-8D92-6FE6E622A650}" dt="2024-12-16T09:09:18.014" v="3501"/>
          <ac:spMkLst>
            <pc:docMk/>
            <pc:sldMk cId="865606007" sldId="279"/>
            <ac:spMk id="51" creationId="{8D507D0F-B0D3-20CC-28B9-9D411E95C456}"/>
          </ac:spMkLst>
        </pc:spChg>
        <pc:spChg chg="add del mod">
          <ac:chgData name="Oğuz Öztekin" userId="33c0df0f-d5fe-4bda-8f43-141ad7af67e3" providerId="ADAL" clId="{48B824AD-1B2A-47A8-8D92-6FE6E622A650}" dt="2024-12-16T09:09:18.015" v="3503"/>
          <ac:spMkLst>
            <pc:docMk/>
            <pc:sldMk cId="865606007" sldId="279"/>
            <ac:spMk id="52" creationId="{1825A75C-6D57-3B39-FF7A-F0762866C901}"/>
          </ac:spMkLst>
        </pc:spChg>
        <pc:spChg chg="add del mod">
          <ac:chgData name="Oğuz Öztekin" userId="33c0df0f-d5fe-4bda-8f43-141ad7af67e3" providerId="ADAL" clId="{48B824AD-1B2A-47A8-8D92-6FE6E622A650}" dt="2024-12-16T09:09:18.015" v="3505"/>
          <ac:spMkLst>
            <pc:docMk/>
            <pc:sldMk cId="865606007" sldId="279"/>
            <ac:spMk id="53" creationId="{26F3059F-02B7-38D5-9066-3E432C882CF0}"/>
          </ac:spMkLst>
        </pc:spChg>
        <pc:spChg chg="add del mod">
          <ac:chgData name="Oğuz Öztekin" userId="33c0df0f-d5fe-4bda-8f43-141ad7af67e3" providerId="ADAL" clId="{48B824AD-1B2A-47A8-8D92-6FE6E622A650}" dt="2024-12-16T09:09:18.016" v="3507"/>
          <ac:spMkLst>
            <pc:docMk/>
            <pc:sldMk cId="865606007" sldId="279"/>
            <ac:spMk id="54" creationId="{C7000466-0F1B-3A2B-7D35-120679B59DFE}"/>
          </ac:spMkLst>
        </pc:spChg>
        <pc:spChg chg="add del mod">
          <ac:chgData name="Oğuz Öztekin" userId="33c0df0f-d5fe-4bda-8f43-141ad7af67e3" providerId="ADAL" clId="{48B824AD-1B2A-47A8-8D92-6FE6E622A650}" dt="2024-12-16T09:09:18.017" v="3509"/>
          <ac:spMkLst>
            <pc:docMk/>
            <pc:sldMk cId="865606007" sldId="279"/>
            <ac:spMk id="55" creationId="{2952FFB1-DC94-ACE8-F3B0-A9CB6A35C0AE}"/>
          </ac:spMkLst>
        </pc:spChg>
        <pc:spChg chg="add del mod">
          <ac:chgData name="Oğuz Öztekin" userId="33c0df0f-d5fe-4bda-8f43-141ad7af67e3" providerId="ADAL" clId="{48B824AD-1B2A-47A8-8D92-6FE6E622A650}" dt="2024-12-16T09:09:18.017" v="3511"/>
          <ac:spMkLst>
            <pc:docMk/>
            <pc:sldMk cId="865606007" sldId="279"/>
            <ac:spMk id="56" creationId="{1F3B398F-AE42-65D6-9039-3F3665953A3B}"/>
          </ac:spMkLst>
        </pc:spChg>
        <pc:spChg chg="add del mod">
          <ac:chgData name="Oğuz Öztekin" userId="33c0df0f-d5fe-4bda-8f43-141ad7af67e3" providerId="ADAL" clId="{48B824AD-1B2A-47A8-8D92-6FE6E622A650}" dt="2024-12-16T09:09:18.018" v="3513"/>
          <ac:spMkLst>
            <pc:docMk/>
            <pc:sldMk cId="865606007" sldId="279"/>
            <ac:spMk id="57" creationId="{6E563BB5-36F0-1769-997F-20A0C6E2E314}"/>
          </ac:spMkLst>
        </pc:spChg>
        <pc:spChg chg="add del mod">
          <ac:chgData name="Oğuz Öztekin" userId="33c0df0f-d5fe-4bda-8f43-141ad7af67e3" providerId="ADAL" clId="{48B824AD-1B2A-47A8-8D92-6FE6E622A650}" dt="2024-12-16T09:09:18.020" v="3515"/>
          <ac:spMkLst>
            <pc:docMk/>
            <pc:sldMk cId="865606007" sldId="279"/>
            <ac:spMk id="58" creationId="{D345C14A-3904-D3D9-A1CC-EA7CABE09F5E}"/>
          </ac:spMkLst>
        </pc:spChg>
        <pc:spChg chg="add del mod">
          <ac:chgData name="Oğuz Öztekin" userId="33c0df0f-d5fe-4bda-8f43-141ad7af67e3" providerId="ADAL" clId="{48B824AD-1B2A-47A8-8D92-6FE6E622A650}" dt="2024-12-16T09:09:18.020" v="3517"/>
          <ac:spMkLst>
            <pc:docMk/>
            <pc:sldMk cId="865606007" sldId="279"/>
            <ac:spMk id="59" creationId="{AC9CD06C-3F8A-5802-4D52-AE642F62348D}"/>
          </ac:spMkLst>
        </pc:spChg>
        <pc:spChg chg="add del mod modVis">
          <ac:chgData name="Oğuz Öztekin" userId="33c0df0f-d5fe-4bda-8f43-141ad7af67e3" providerId="ADAL" clId="{48B824AD-1B2A-47A8-8D92-6FE6E622A650}" dt="2024-12-16T09:08:47.264" v="1658"/>
          <ac:spMkLst>
            <pc:docMk/>
            <pc:sldMk cId="865606007" sldId="279"/>
            <ac:spMk id="60" creationId="{89433828-6FED-F955-7708-2EDE850162D0}"/>
          </ac:spMkLst>
        </pc:spChg>
        <pc:spChg chg="add del mod">
          <ac:chgData name="Oğuz Öztekin" userId="33c0df0f-d5fe-4bda-8f43-141ad7af67e3" providerId="ADAL" clId="{48B824AD-1B2A-47A8-8D92-6FE6E622A650}" dt="2024-12-16T09:09:18.108" v="3613"/>
          <ac:spMkLst>
            <pc:docMk/>
            <pc:sldMk cId="865606007" sldId="279"/>
            <ac:spMk id="61" creationId="{139F6D4A-759C-C90E-CB91-320901E84303}"/>
          </ac:spMkLst>
        </pc:spChg>
        <pc:spChg chg="add del mod">
          <ac:chgData name="Oğuz Öztekin" userId="33c0df0f-d5fe-4bda-8f43-141ad7af67e3" providerId="ADAL" clId="{48B824AD-1B2A-47A8-8D92-6FE6E622A650}" dt="2024-12-16T09:09:18.107" v="3610"/>
          <ac:spMkLst>
            <pc:docMk/>
            <pc:sldMk cId="865606007" sldId="279"/>
            <ac:spMk id="62" creationId="{194157B3-8B5F-6D53-26EF-C60FADE8DA38}"/>
          </ac:spMkLst>
        </pc:spChg>
        <pc:spChg chg="add del mod ord">
          <ac:chgData name="Oğuz Öztekin" userId="33c0df0f-d5fe-4bda-8f43-141ad7af67e3" providerId="ADAL" clId="{48B824AD-1B2A-47A8-8D92-6FE6E622A650}" dt="2024-12-16T09:09:18.004" v="3473"/>
          <ac:spMkLst>
            <pc:docMk/>
            <pc:sldMk cId="865606007" sldId="279"/>
            <ac:spMk id="63" creationId="{DB0C8183-A036-C3AE-EABD-0457A12C5038}"/>
          </ac:spMkLst>
        </pc:spChg>
        <pc:spChg chg="add del mod ord">
          <ac:chgData name="Oğuz Öztekin" userId="33c0df0f-d5fe-4bda-8f43-141ad7af67e3" providerId="ADAL" clId="{48B824AD-1B2A-47A8-8D92-6FE6E622A650}" dt="2024-12-16T09:09:18.113" v="3625"/>
          <ac:spMkLst>
            <pc:docMk/>
            <pc:sldMk cId="865606007" sldId="279"/>
            <ac:spMk id="64" creationId="{6BA96DC5-3930-535B-1166-329BCCFC15F3}"/>
          </ac:spMkLst>
        </pc:spChg>
        <pc:spChg chg="add del mod ord">
          <ac:chgData name="Oğuz Öztekin" userId="33c0df0f-d5fe-4bda-8f43-141ad7af67e3" providerId="ADAL" clId="{48B824AD-1B2A-47A8-8D92-6FE6E622A650}" dt="2024-12-16T09:08:56.718" v="2560"/>
          <ac:spMkLst>
            <pc:docMk/>
            <pc:sldMk cId="865606007" sldId="279"/>
            <ac:spMk id="65" creationId="{CD402796-FEF5-95C3-1039-10C6A78F9ED8}"/>
          </ac:spMkLst>
        </pc:spChg>
        <pc:spChg chg="add del mod ord">
          <ac:chgData name="Oğuz Öztekin" userId="33c0df0f-d5fe-4bda-8f43-141ad7af67e3" providerId="ADAL" clId="{48B824AD-1B2A-47A8-8D92-6FE6E622A650}" dt="2024-12-16T09:09:18.117" v="3633"/>
          <ac:spMkLst>
            <pc:docMk/>
            <pc:sldMk cId="865606007" sldId="279"/>
            <ac:spMk id="66" creationId="{47ADA53B-CBEC-9154-59CA-619F9D5496FF}"/>
          </ac:spMkLst>
        </pc:spChg>
        <pc:spChg chg="add del mod ord">
          <ac:chgData name="Oğuz Öztekin" userId="33c0df0f-d5fe-4bda-8f43-141ad7af67e3" providerId="ADAL" clId="{48B824AD-1B2A-47A8-8D92-6FE6E622A650}" dt="2024-12-16T09:08:56.750" v="2625"/>
          <ac:spMkLst>
            <pc:docMk/>
            <pc:sldMk cId="865606007" sldId="279"/>
            <ac:spMk id="67" creationId="{FC7E7AC2-574D-F53A-A32F-0C27AF0914D4}"/>
          </ac:spMkLst>
        </pc:spChg>
        <pc:spChg chg="add del mod">
          <ac:chgData name="Oğuz Öztekin" userId="33c0df0f-d5fe-4bda-8f43-141ad7af67e3" providerId="ADAL" clId="{48B824AD-1B2A-47A8-8D92-6FE6E622A650}" dt="2024-12-16T09:09:18.008" v="3488"/>
          <ac:spMkLst>
            <pc:docMk/>
            <pc:sldMk cId="865606007" sldId="279"/>
            <ac:spMk id="71" creationId="{F94AE483-A91B-CDF8-54B2-C3B2BD24A0AC}"/>
          </ac:spMkLst>
        </pc:spChg>
        <pc:spChg chg="add del mod">
          <ac:chgData name="Oğuz Öztekin" userId="33c0df0f-d5fe-4bda-8f43-141ad7af67e3" providerId="ADAL" clId="{48B824AD-1B2A-47A8-8D92-6FE6E622A650}" dt="2024-12-16T09:09:18.009" v="3490"/>
          <ac:spMkLst>
            <pc:docMk/>
            <pc:sldMk cId="865606007" sldId="279"/>
            <ac:spMk id="72" creationId="{ABE4EF2D-208F-D8C4-4280-FA7C584914A2}"/>
          </ac:spMkLst>
        </pc:spChg>
        <pc:spChg chg="add del mod">
          <ac:chgData name="Oğuz Öztekin" userId="33c0df0f-d5fe-4bda-8f43-141ad7af67e3" providerId="ADAL" clId="{48B824AD-1B2A-47A8-8D92-6FE6E622A650}" dt="2024-12-16T09:09:18.010" v="3492"/>
          <ac:spMkLst>
            <pc:docMk/>
            <pc:sldMk cId="865606007" sldId="279"/>
            <ac:spMk id="73" creationId="{AA14FFBB-9D1C-9B50-F86C-A894BCB64036}"/>
          </ac:spMkLst>
        </pc:spChg>
        <pc:spChg chg="add del mod">
          <ac:chgData name="Oğuz Öztekin" userId="33c0df0f-d5fe-4bda-8f43-141ad7af67e3" providerId="ADAL" clId="{48B824AD-1B2A-47A8-8D92-6FE6E622A650}" dt="2024-12-16T09:09:18.011" v="3494"/>
          <ac:spMkLst>
            <pc:docMk/>
            <pc:sldMk cId="865606007" sldId="279"/>
            <ac:spMk id="74" creationId="{2C7AC821-B139-ABCC-18E4-2BBE7AF420F2}"/>
          </ac:spMkLst>
        </pc:spChg>
        <pc:spChg chg="add del mod">
          <ac:chgData name="Oğuz Öztekin" userId="33c0df0f-d5fe-4bda-8f43-141ad7af67e3" providerId="ADAL" clId="{48B824AD-1B2A-47A8-8D92-6FE6E622A650}" dt="2024-12-16T09:09:18.012" v="3496"/>
          <ac:spMkLst>
            <pc:docMk/>
            <pc:sldMk cId="865606007" sldId="279"/>
            <ac:spMk id="75" creationId="{EF5A4382-707C-E21E-0A93-B1EB3F138C29}"/>
          </ac:spMkLst>
        </pc:spChg>
        <pc:spChg chg="add del mod">
          <ac:chgData name="Oğuz Öztekin" userId="33c0df0f-d5fe-4bda-8f43-141ad7af67e3" providerId="ADAL" clId="{48B824AD-1B2A-47A8-8D92-6FE6E622A650}" dt="2024-12-16T09:09:18.013" v="3498"/>
          <ac:spMkLst>
            <pc:docMk/>
            <pc:sldMk cId="865606007" sldId="279"/>
            <ac:spMk id="76" creationId="{42E08713-AEC1-E52C-DC1A-D410B03CB958}"/>
          </ac:spMkLst>
        </pc:spChg>
        <pc:spChg chg="add del mod">
          <ac:chgData name="Oğuz Öztekin" userId="33c0df0f-d5fe-4bda-8f43-141ad7af67e3" providerId="ADAL" clId="{48B824AD-1B2A-47A8-8D92-6FE6E622A650}" dt="2024-12-16T09:09:18.014" v="3500"/>
          <ac:spMkLst>
            <pc:docMk/>
            <pc:sldMk cId="865606007" sldId="279"/>
            <ac:spMk id="77" creationId="{A27F2544-C424-2405-C66A-B1BAFBA502CE}"/>
          </ac:spMkLst>
        </pc:spChg>
        <pc:spChg chg="add del mod">
          <ac:chgData name="Oğuz Öztekin" userId="33c0df0f-d5fe-4bda-8f43-141ad7af67e3" providerId="ADAL" clId="{48B824AD-1B2A-47A8-8D92-6FE6E622A650}" dt="2024-12-16T09:09:18.014" v="3502"/>
          <ac:spMkLst>
            <pc:docMk/>
            <pc:sldMk cId="865606007" sldId="279"/>
            <ac:spMk id="78" creationId="{2314102B-F0FF-DDB5-365F-7992F17207BF}"/>
          </ac:spMkLst>
        </pc:spChg>
        <pc:spChg chg="add del mod">
          <ac:chgData name="Oğuz Öztekin" userId="33c0df0f-d5fe-4bda-8f43-141ad7af67e3" providerId="ADAL" clId="{48B824AD-1B2A-47A8-8D92-6FE6E622A650}" dt="2024-12-16T09:09:18.015" v="3504"/>
          <ac:spMkLst>
            <pc:docMk/>
            <pc:sldMk cId="865606007" sldId="279"/>
            <ac:spMk id="79" creationId="{1F5C31F2-E62B-1989-3494-3C9D83247EC0}"/>
          </ac:spMkLst>
        </pc:spChg>
        <pc:spChg chg="add del mod">
          <ac:chgData name="Oğuz Öztekin" userId="33c0df0f-d5fe-4bda-8f43-141ad7af67e3" providerId="ADAL" clId="{48B824AD-1B2A-47A8-8D92-6FE6E622A650}" dt="2024-12-16T09:09:18.016" v="3506"/>
          <ac:spMkLst>
            <pc:docMk/>
            <pc:sldMk cId="865606007" sldId="279"/>
            <ac:spMk id="80" creationId="{38840041-FF86-5483-ADBF-274E7FDA7248}"/>
          </ac:spMkLst>
        </pc:spChg>
        <pc:spChg chg="add del mod">
          <ac:chgData name="Oğuz Öztekin" userId="33c0df0f-d5fe-4bda-8f43-141ad7af67e3" providerId="ADAL" clId="{48B824AD-1B2A-47A8-8D92-6FE6E622A650}" dt="2024-12-16T09:09:18.016" v="3508"/>
          <ac:spMkLst>
            <pc:docMk/>
            <pc:sldMk cId="865606007" sldId="279"/>
            <ac:spMk id="81" creationId="{0FEB78A9-35BB-11A2-C629-27060BBC8DD1}"/>
          </ac:spMkLst>
        </pc:spChg>
        <pc:spChg chg="add del mod">
          <ac:chgData name="Oğuz Öztekin" userId="33c0df0f-d5fe-4bda-8f43-141ad7af67e3" providerId="ADAL" clId="{48B824AD-1B2A-47A8-8D92-6FE6E622A650}" dt="2024-12-16T09:09:18.017" v="3510"/>
          <ac:spMkLst>
            <pc:docMk/>
            <pc:sldMk cId="865606007" sldId="279"/>
            <ac:spMk id="82" creationId="{AAB924CB-4268-AAB4-2E14-EB7FB1C4797D}"/>
          </ac:spMkLst>
        </pc:spChg>
        <pc:spChg chg="add del mod">
          <ac:chgData name="Oğuz Öztekin" userId="33c0df0f-d5fe-4bda-8f43-141ad7af67e3" providerId="ADAL" clId="{48B824AD-1B2A-47A8-8D92-6FE6E622A650}" dt="2024-12-16T09:09:18.018" v="3512"/>
          <ac:spMkLst>
            <pc:docMk/>
            <pc:sldMk cId="865606007" sldId="279"/>
            <ac:spMk id="83" creationId="{4ED87781-409E-5F4C-2F16-8D89EB74E523}"/>
          </ac:spMkLst>
        </pc:spChg>
        <pc:spChg chg="add del mod">
          <ac:chgData name="Oğuz Öztekin" userId="33c0df0f-d5fe-4bda-8f43-141ad7af67e3" providerId="ADAL" clId="{48B824AD-1B2A-47A8-8D92-6FE6E622A650}" dt="2024-12-16T09:09:18.019" v="3514"/>
          <ac:spMkLst>
            <pc:docMk/>
            <pc:sldMk cId="865606007" sldId="279"/>
            <ac:spMk id="84" creationId="{EAC0E722-84E5-B546-5037-05C3B28D6866}"/>
          </ac:spMkLst>
        </pc:spChg>
        <pc:spChg chg="add del mod">
          <ac:chgData name="Oğuz Öztekin" userId="33c0df0f-d5fe-4bda-8f43-141ad7af67e3" providerId="ADAL" clId="{48B824AD-1B2A-47A8-8D92-6FE6E622A650}" dt="2024-12-16T09:09:18.020" v="3516"/>
          <ac:spMkLst>
            <pc:docMk/>
            <pc:sldMk cId="865606007" sldId="279"/>
            <ac:spMk id="85" creationId="{9478DE83-696D-6337-5162-090011359BE7}"/>
          </ac:spMkLst>
        </pc:spChg>
        <pc:spChg chg="add mod">
          <ac:chgData name="Oğuz Öztekin" userId="33c0df0f-d5fe-4bda-8f43-141ad7af67e3" providerId="ADAL" clId="{48B824AD-1B2A-47A8-8D92-6FE6E622A650}" dt="2024-12-16T09:21:02.874" v="25978"/>
          <ac:spMkLst>
            <pc:docMk/>
            <pc:sldMk cId="865606007" sldId="279"/>
            <ac:spMk id="86" creationId="{D0FCB533-6088-11FE-3394-86A1EE694C8E}"/>
          </ac:spMkLst>
        </pc:spChg>
        <pc:spChg chg="add mod">
          <ac:chgData name="Oğuz Öztekin" userId="33c0df0f-d5fe-4bda-8f43-141ad7af67e3" providerId="ADAL" clId="{48B824AD-1B2A-47A8-8D92-6FE6E622A650}" dt="2024-12-16T09:21:02.875" v="25981"/>
          <ac:spMkLst>
            <pc:docMk/>
            <pc:sldMk cId="865606007" sldId="279"/>
            <ac:spMk id="87" creationId="{4E76B921-8BA0-08DC-EC1C-A5A428D172E4}"/>
          </ac:spMkLst>
        </pc:spChg>
        <pc:spChg chg="add mod">
          <ac:chgData name="Oğuz Öztekin" userId="33c0df0f-d5fe-4bda-8f43-141ad7af67e3" providerId="ADAL" clId="{48B824AD-1B2A-47A8-8D92-6FE6E622A650}" dt="2024-12-16T09:21:02.876" v="25984"/>
          <ac:spMkLst>
            <pc:docMk/>
            <pc:sldMk cId="865606007" sldId="279"/>
            <ac:spMk id="88" creationId="{89451C56-0E80-70A0-4A24-7A1C59B4BABA}"/>
          </ac:spMkLst>
        </pc:spChg>
        <pc:spChg chg="add mod">
          <ac:chgData name="Oğuz Öztekin" userId="33c0df0f-d5fe-4bda-8f43-141ad7af67e3" providerId="ADAL" clId="{48B824AD-1B2A-47A8-8D92-6FE6E622A650}" dt="2024-12-16T09:21:02.877" v="25987"/>
          <ac:spMkLst>
            <pc:docMk/>
            <pc:sldMk cId="865606007" sldId="279"/>
            <ac:spMk id="89" creationId="{46C5B14F-F66C-575B-4B6B-F1CFFBF3CD5B}"/>
          </ac:spMkLst>
        </pc:spChg>
        <pc:spChg chg="add mod">
          <ac:chgData name="Oğuz Öztekin" userId="33c0df0f-d5fe-4bda-8f43-141ad7af67e3" providerId="ADAL" clId="{48B824AD-1B2A-47A8-8D92-6FE6E622A650}" dt="2024-12-16T09:21:02.877" v="25990"/>
          <ac:spMkLst>
            <pc:docMk/>
            <pc:sldMk cId="865606007" sldId="279"/>
            <ac:spMk id="90" creationId="{1E532F6A-44D2-41C8-48E8-77B62F230E8F}"/>
          </ac:spMkLst>
        </pc:spChg>
        <pc:spChg chg="add mod">
          <ac:chgData name="Oğuz Öztekin" userId="33c0df0f-d5fe-4bda-8f43-141ad7af67e3" providerId="ADAL" clId="{48B824AD-1B2A-47A8-8D92-6FE6E622A650}" dt="2024-12-16T09:21:02.878" v="25993"/>
          <ac:spMkLst>
            <pc:docMk/>
            <pc:sldMk cId="865606007" sldId="279"/>
            <ac:spMk id="91" creationId="{B8845E64-9530-3F5D-C78C-9077E9F465FC}"/>
          </ac:spMkLst>
        </pc:spChg>
        <pc:spChg chg="add mod">
          <ac:chgData name="Oğuz Öztekin" userId="33c0df0f-d5fe-4bda-8f43-141ad7af67e3" providerId="ADAL" clId="{48B824AD-1B2A-47A8-8D92-6FE6E622A650}" dt="2024-12-16T09:21:02.878" v="25996"/>
          <ac:spMkLst>
            <pc:docMk/>
            <pc:sldMk cId="865606007" sldId="279"/>
            <ac:spMk id="92" creationId="{0F383885-2383-3CDD-8753-28134366C8DB}"/>
          </ac:spMkLst>
        </pc:spChg>
        <pc:spChg chg="add del mod">
          <ac:chgData name="Oğuz Öztekin" userId="33c0df0f-d5fe-4bda-8f43-141ad7af67e3" providerId="ADAL" clId="{48B824AD-1B2A-47A8-8D92-6FE6E622A650}" dt="2024-12-16T09:09:06.116" v="2941"/>
          <ac:spMkLst>
            <pc:docMk/>
            <pc:sldMk cId="865606007" sldId="279"/>
            <ac:spMk id="93" creationId="{A0B36119-612D-4E70-9A2C-C36D02D7AB31}"/>
          </ac:spMkLst>
        </pc:spChg>
        <pc:spChg chg="add del mod">
          <ac:chgData name="Oğuz Öztekin" userId="33c0df0f-d5fe-4bda-8f43-141ad7af67e3" providerId="ADAL" clId="{48B824AD-1B2A-47A8-8D92-6FE6E622A650}" dt="2024-12-16T09:09:06.117" v="2942"/>
          <ac:spMkLst>
            <pc:docMk/>
            <pc:sldMk cId="865606007" sldId="279"/>
            <ac:spMk id="94" creationId="{396A22CD-2CC4-02AB-3324-BA11B6533093}"/>
          </ac:spMkLst>
        </pc:spChg>
        <pc:spChg chg="add del mod">
          <ac:chgData name="Oğuz Öztekin" userId="33c0df0f-d5fe-4bda-8f43-141ad7af67e3" providerId="ADAL" clId="{48B824AD-1B2A-47A8-8D92-6FE6E622A650}" dt="2024-12-16T09:09:06.118" v="2945"/>
          <ac:spMkLst>
            <pc:docMk/>
            <pc:sldMk cId="865606007" sldId="279"/>
            <ac:spMk id="95" creationId="{A2B8CA88-EF2D-7A78-8821-65558D6E513B}"/>
          </ac:spMkLst>
        </pc:spChg>
        <pc:spChg chg="add del mod">
          <ac:chgData name="Oğuz Öztekin" userId="33c0df0f-d5fe-4bda-8f43-141ad7af67e3" providerId="ADAL" clId="{48B824AD-1B2A-47A8-8D92-6FE6E622A650}" dt="2024-12-16T09:08:56.780" v="2689"/>
          <ac:spMkLst>
            <pc:docMk/>
            <pc:sldMk cId="865606007" sldId="279"/>
            <ac:spMk id="96" creationId="{0EEAADBD-CA0A-2FB5-A943-A83E92F0EB4C}"/>
          </ac:spMkLst>
        </pc:spChg>
        <pc:spChg chg="add del mod">
          <ac:chgData name="Oğuz Öztekin" userId="33c0df0f-d5fe-4bda-8f43-141ad7af67e3" providerId="ADAL" clId="{48B824AD-1B2A-47A8-8D92-6FE6E622A650}" dt="2024-12-16T09:08:56.790" v="2708"/>
          <ac:spMkLst>
            <pc:docMk/>
            <pc:sldMk cId="865606007" sldId="279"/>
            <ac:spMk id="97" creationId="{90317880-550A-B267-18D0-E634B6F4B562}"/>
          </ac:spMkLst>
        </pc:spChg>
        <pc:spChg chg="add del mod">
          <ac:chgData name="Oğuz Öztekin" userId="33c0df0f-d5fe-4bda-8f43-141ad7af67e3" providerId="ADAL" clId="{48B824AD-1B2A-47A8-8D92-6FE6E622A650}" dt="2024-12-16T09:08:56.792" v="2713"/>
          <ac:spMkLst>
            <pc:docMk/>
            <pc:sldMk cId="865606007" sldId="279"/>
            <ac:spMk id="98" creationId="{E8D6F0D2-865B-D370-3593-0F0637463103}"/>
          </ac:spMkLst>
        </pc:spChg>
        <pc:spChg chg="add del mod">
          <ac:chgData name="Oğuz Öztekin" userId="33c0df0f-d5fe-4bda-8f43-141ad7af67e3" providerId="ADAL" clId="{48B824AD-1B2A-47A8-8D92-6FE6E622A650}" dt="2024-12-16T09:08:56.795" v="2718"/>
          <ac:spMkLst>
            <pc:docMk/>
            <pc:sldMk cId="865606007" sldId="279"/>
            <ac:spMk id="99" creationId="{6DA41782-3513-E10B-79C2-F3C086A92263}"/>
          </ac:spMkLst>
        </pc:spChg>
        <pc:spChg chg="add del mod">
          <ac:chgData name="Oğuz Öztekin" userId="33c0df0f-d5fe-4bda-8f43-141ad7af67e3" providerId="ADAL" clId="{48B824AD-1B2A-47A8-8D92-6FE6E622A650}" dt="2024-12-16T09:08:56.804" v="2737"/>
          <ac:spMkLst>
            <pc:docMk/>
            <pc:sldMk cId="865606007" sldId="279"/>
            <ac:spMk id="100" creationId="{59776D1D-22F2-3C29-41B9-9188A15AD36E}"/>
          </ac:spMkLst>
        </pc:spChg>
        <pc:spChg chg="add del mod">
          <ac:chgData name="Oğuz Öztekin" userId="33c0df0f-d5fe-4bda-8f43-141ad7af67e3" providerId="ADAL" clId="{48B824AD-1B2A-47A8-8D92-6FE6E622A650}" dt="2024-12-16T09:08:56.806" v="2742"/>
          <ac:spMkLst>
            <pc:docMk/>
            <pc:sldMk cId="865606007" sldId="279"/>
            <ac:spMk id="101" creationId="{50274E4C-DA1A-61A4-4F32-7C3472320E1E}"/>
          </ac:spMkLst>
        </pc:spChg>
        <pc:spChg chg="add del mod">
          <ac:chgData name="Oğuz Öztekin" userId="33c0df0f-d5fe-4bda-8f43-141ad7af67e3" providerId="ADAL" clId="{48B824AD-1B2A-47A8-8D92-6FE6E622A650}" dt="2024-12-16T09:08:56.808" v="2747"/>
          <ac:spMkLst>
            <pc:docMk/>
            <pc:sldMk cId="865606007" sldId="279"/>
            <ac:spMk id="102" creationId="{7C7099A0-4F2B-96D5-B40A-088E0334F3E1}"/>
          </ac:spMkLst>
        </pc:spChg>
        <pc:spChg chg="add del mod">
          <ac:chgData name="Oğuz Öztekin" userId="33c0df0f-d5fe-4bda-8f43-141ad7af67e3" providerId="ADAL" clId="{48B824AD-1B2A-47A8-8D92-6FE6E622A650}" dt="2024-12-16T09:08:56.817" v="2766"/>
          <ac:spMkLst>
            <pc:docMk/>
            <pc:sldMk cId="865606007" sldId="279"/>
            <ac:spMk id="103" creationId="{A2BC3D39-3DF8-FA3B-3D8F-B65BD6273E85}"/>
          </ac:spMkLst>
        </pc:spChg>
        <pc:spChg chg="add del mod">
          <ac:chgData name="Oğuz Öztekin" userId="33c0df0f-d5fe-4bda-8f43-141ad7af67e3" providerId="ADAL" clId="{48B824AD-1B2A-47A8-8D92-6FE6E622A650}" dt="2024-12-16T09:08:56.820" v="2771"/>
          <ac:spMkLst>
            <pc:docMk/>
            <pc:sldMk cId="865606007" sldId="279"/>
            <ac:spMk id="104" creationId="{0C9FD4B9-5396-6DDF-0E9F-0EC36FE716CB}"/>
          </ac:spMkLst>
        </pc:spChg>
        <pc:spChg chg="add del mod">
          <ac:chgData name="Oğuz Öztekin" userId="33c0df0f-d5fe-4bda-8f43-141ad7af67e3" providerId="ADAL" clId="{48B824AD-1B2A-47A8-8D92-6FE6E622A650}" dt="2024-12-16T09:08:56.822" v="2776"/>
          <ac:spMkLst>
            <pc:docMk/>
            <pc:sldMk cId="865606007" sldId="279"/>
            <ac:spMk id="105" creationId="{3BFAE1F2-3EC7-8E44-B644-619066250AD5}"/>
          </ac:spMkLst>
        </pc:spChg>
        <pc:spChg chg="add del mod modVis">
          <ac:chgData name="Oğuz Öztekin" userId="33c0df0f-d5fe-4bda-8f43-141ad7af67e3" providerId="ADAL" clId="{48B824AD-1B2A-47A8-8D92-6FE6E622A650}" dt="2024-12-16T09:08:56.910" v="2938"/>
          <ac:spMkLst>
            <pc:docMk/>
            <pc:sldMk cId="865606007" sldId="279"/>
            <ac:spMk id="106" creationId="{DBCA0BB9-046D-2A97-2E34-B36FE4C5D2D6}"/>
          </ac:spMkLst>
        </pc:spChg>
        <pc:spChg chg="add del mod ord">
          <ac:chgData name="Oğuz Öztekin" userId="33c0df0f-d5fe-4bda-8f43-141ad7af67e3" providerId="ADAL" clId="{48B824AD-1B2A-47A8-8D92-6FE6E622A650}" dt="2024-12-16T09:09:18.003" v="3469"/>
          <ac:spMkLst>
            <pc:docMk/>
            <pc:sldMk cId="865606007" sldId="279"/>
            <ac:spMk id="107" creationId="{C1D34926-005C-D940-00DB-374228F409C9}"/>
          </ac:spMkLst>
        </pc:spChg>
        <pc:spChg chg="add del mod ord">
          <ac:chgData name="Oğuz Öztekin" userId="33c0df0f-d5fe-4bda-8f43-141ad7af67e3" providerId="ADAL" clId="{48B824AD-1B2A-47A8-8D92-6FE6E622A650}" dt="2024-12-16T09:09:18.004" v="3471"/>
          <ac:spMkLst>
            <pc:docMk/>
            <pc:sldMk cId="865606007" sldId="279"/>
            <ac:spMk id="108" creationId="{63407FE9-4A30-45C9-4D1B-E6E2FAD9DD81}"/>
          </ac:spMkLst>
        </pc:spChg>
        <pc:spChg chg="add del mod ord">
          <ac:chgData name="Oğuz Öztekin" userId="33c0df0f-d5fe-4bda-8f43-141ad7af67e3" providerId="ADAL" clId="{48B824AD-1B2A-47A8-8D92-6FE6E622A650}" dt="2024-12-16T09:09:18.005" v="3475"/>
          <ac:spMkLst>
            <pc:docMk/>
            <pc:sldMk cId="865606007" sldId="279"/>
            <ac:spMk id="109" creationId="{2D9CC1F3-B633-CF74-2C50-C1B780C57F23}"/>
          </ac:spMkLst>
        </pc:spChg>
        <pc:spChg chg="add del mod ord">
          <ac:chgData name="Oğuz Öztekin" userId="33c0df0f-d5fe-4bda-8f43-141ad7af67e3" providerId="ADAL" clId="{48B824AD-1B2A-47A8-8D92-6FE6E622A650}" dt="2024-12-16T09:09:18.005" v="3477"/>
          <ac:spMkLst>
            <pc:docMk/>
            <pc:sldMk cId="865606007" sldId="279"/>
            <ac:spMk id="110" creationId="{4C5DEC53-A0A5-F307-CA15-5B0DCF5F1004}"/>
          </ac:spMkLst>
        </pc:spChg>
        <pc:spChg chg="add del mod ord">
          <ac:chgData name="Oğuz Öztekin" userId="33c0df0f-d5fe-4bda-8f43-141ad7af67e3" providerId="ADAL" clId="{48B824AD-1B2A-47A8-8D92-6FE6E622A650}" dt="2024-12-16T09:09:18.006" v="3479"/>
          <ac:spMkLst>
            <pc:docMk/>
            <pc:sldMk cId="865606007" sldId="279"/>
            <ac:spMk id="111" creationId="{83C28FFD-6DFA-E73F-58D7-EF9B754ED7FA}"/>
          </ac:spMkLst>
        </pc:spChg>
        <pc:spChg chg="add del mod ord">
          <ac:chgData name="Oğuz Öztekin" userId="33c0df0f-d5fe-4bda-8f43-141ad7af67e3" providerId="ADAL" clId="{48B824AD-1B2A-47A8-8D92-6FE6E622A650}" dt="2024-12-16T09:09:18.006" v="3481"/>
          <ac:spMkLst>
            <pc:docMk/>
            <pc:sldMk cId="865606007" sldId="279"/>
            <ac:spMk id="112" creationId="{89EE0815-5F8C-68CD-42AE-3B1861D06422}"/>
          </ac:spMkLst>
        </pc:spChg>
        <pc:spChg chg="add del mod ord">
          <ac:chgData name="Oğuz Öztekin" userId="33c0df0f-d5fe-4bda-8f43-141ad7af67e3" providerId="ADAL" clId="{48B824AD-1B2A-47A8-8D92-6FE6E622A650}" dt="2024-12-16T09:09:18.007" v="3483"/>
          <ac:spMkLst>
            <pc:docMk/>
            <pc:sldMk cId="865606007" sldId="279"/>
            <ac:spMk id="113" creationId="{E85A4160-5971-FBB7-566C-102C8C3107E0}"/>
          </ac:spMkLst>
        </pc:spChg>
        <pc:spChg chg="add del mod ord">
          <ac:chgData name="Oğuz Öztekin" userId="33c0df0f-d5fe-4bda-8f43-141ad7af67e3" providerId="ADAL" clId="{48B824AD-1B2A-47A8-8D92-6FE6E622A650}" dt="2024-12-16T09:09:18.007" v="3485"/>
          <ac:spMkLst>
            <pc:docMk/>
            <pc:sldMk cId="865606007" sldId="279"/>
            <ac:spMk id="114" creationId="{C6C563F6-8862-6B18-C4C8-D68DCCD5918D}"/>
          </ac:spMkLst>
        </pc:spChg>
        <pc:spChg chg="add del mod ord">
          <ac:chgData name="Oğuz Öztekin" userId="33c0df0f-d5fe-4bda-8f43-141ad7af67e3" providerId="ADAL" clId="{48B824AD-1B2A-47A8-8D92-6FE6E622A650}" dt="2024-12-16T09:09:18.008" v="3487"/>
          <ac:spMkLst>
            <pc:docMk/>
            <pc:sldMk cId="865606007" sldId="279"/>
            <ac:spMk id="115" creationId="{C4411C2B-0A55-9424-EB74-0643438AC656}"/>
          </ac:spMkLst>
        </pc:spChg>
        <pc:spChg chg="add del mod modVis">
          <ac:chgData name="Oğuz Öztekin" userId="33c0df0f-d5fe-4bda-8f43-141ad7af67e3" providerId="ADAL" clId="{48B824AD-1B2A-47A8-8D92-6FE6E622A650}" dt="2024-12-16T09:09:06.509" v="3465"/>
          <ac:spMkLst>
            <pc:docMk/>
            <pc:sldMk cId="865606007" sldId="279"/>
            <ac:spMk id="128" creationId="{252C1011-10BF-32AC-81D2-9FFF20EE1B55}"/>
          </ac:spMkLst>
        </pc:spChg>
        <pc:spChg chg="add del mod modVis">
          <ac:chgData name="Oğuz Öztekin" userId="33c0df0f-d5fe-4bda-8f43-141ad7af67e3" providerId="ADAL" clId="{48B824AD-1B2A-47A8-8D92-6FE6E622A650}" dt="2024-12-16T09:09:18.159" v="3704"/>
          <ac:spMkLst>
            <pc:docMk/>
            <pc:sldMk cId="865606007" sldId="279"/>
            <ac:spMk id="130" creationId="{379C7889-7102-8C6D-984D-E4CE838787AE}"/>
          </ac:spMkLst>
        </pc:spChg>
        <pc:spChg chg="add del mod modVis">
          <ac:chgData name="Oğuz Öztekin" userId="33c0df0f-d5fe-4bda-8f43-141ad7af67e3" providerId="ADAL" clId="{48B824AD-1B2A-47A8-8D92-6FE6E622A650}" dt="2024-12-16T09:09:37.280" v="3825"/>
          <ac:spMkLst>
            <pc:docMk/>
            <pc:sldMk cId="865606007" sldId="279"/>
            <ac:spMk id="132" creationId="{0403AD3B-028A-DF34-AEDF-7AAFF3206DB7}"/>
          </ac:spMkLst>
        </pc:spChg>
        <pc:spChg chg="add del mod">
          <ac:chgData name="Oğuz Öztekin" userId="33c0df0f-d5fe-4bda-8f43-141ad7af67e3" providerId="ADAL" clId="{48B824AD-1B2A-47A8-8D92-6FE6E622A650}" dt="2024-12-16T09:10:17.958" v="5637"/>
          <ac:spMkLst>
            <pc:docMk/>
            <pc:sldMk cId="865606007" sldId="279"/>
            <ac:spMk id="134" creationId="{C8E2BACD-6EC3-DFB8-432B-906FBB597538}"/>
          </ac:spMkLst>
        </pc:spChg>
        <pc:spChg chg="add del mod">
          <ac:chgData name="Oğuz Öztekin" userId="33c0df0f-d5fe-4bda-8f43-141ad7af67e3" providerId="ADAL" clId="{48B824AD-1B2A-47A8-8D92-6FE6E622A650}" dt="2024-12-16T09:10:17.960" v="5640"/>
          <ac:spMkLst>
            <pc:docMk/>
            <pc:sldMk cId="865606007" sldId="279"/>
            <ac:spMk id="135" creationId="{25464700-07AD-DADF-DBAD-548290485229}"/>
          </ac:spMkLst>
        </pc:spChg>
        <pc:spChg chg="add del mod">
          <ac:chgData name="Oğuz Öztekin" userId="33c0df0f-d5fe-4bda-8f43-141ad7af67e3" providerId="ADAL" clId="{48B824AD-1B2A-47A8-8D92-6FE6E622A650}" dt="2024-12-16T09:10:17.962" v="5643"/>
          <ac:spMkLst>
            <pc:docMk/>
            <pc:sldMk cId="865606007" sldId="279"/>
            <ac:spMk id="136" creationId="{2718E8B6-049B-A746-5977-DB9409DB6823}"/>
          </ac:spMkLst>
        </pc:spChg>
        <pc:spChg chg="add del mod">
          <ac:chgData name="Oğuz Öztekin" userId="33c0df0f-d5fe-4bda-8f43-141ad7af67e3" providerId="ADAL" clId="{48B824AD-1B2A-47A8-8D92-6FE6E622A650}" dt="2024-12-16T09:10:17.963" v="5646"/>
          <ac:spMkLst>
            <pc:docMk/>
            <pc:sldMk cId="865606007" sldId="279"/>
            <ac:spMk id="137" creationId="{7FF0BFC4-02C5-1676-0EB2-55735E2E0BEF}"/>
          </ac:spMkLst>
        </pc:spChg>
        <pc:spChg chg="add del mod">
          <ac:chgData name="Oğuz Öztekin" userId="33c0df0f-d5fe-4bda-8f43-141ad7af67e3" providerId="ADAL" clId="{48B824AD-1B2A-47A8-8D92-6FE6E622A650}" dt="2024-12-16T09:10:17.965" v="5649"/>
          <ac:spMkLst>
            <pc:docMk/>
            <pc:sldMk cId="865606007" sldId="279"/>
            <ac:spMk id="138" creationId="{747E3264-62F6-DB08-EFEB-3CAC027158C4}"/>
          </ac:spMkLst>
        </pc:spChg>
        <pc:spChg chg="add del mod">
          <ac:chgData name="Oğuz Öztekin" userId="33c0df0f-d5fe-4bda-8f43-141ad7af67e3" providerId="ADAL" clId="{48B824AD-1B2A-47A8-8D92-6FE6E622A650}" dt="2024-12-16T09:10:17.967" v="5652"/>
          <ac:spMkLst>
            <pc:docMk/>
            <pc:sldMk cId="865606007" sldId="279"/>
            <ac:spMk id="139" creationId="{ACEEF6DE-88A8-1B9D-375F-5ED6046F8458}"/>
          </ac:spMkLst>
        </pc:spChg>
        <pc:spChg chg="add del mod">
          <ac:chgData name="Oğuz Öztekin" userId="33c0df0f-d5fe-4bda-8f43-141ad7af67e3" providerId="ADAL" clId="{48B824AD-1B2A-47A8-8D92-6FE6E622A650}" dt="2024-12-16T09:10:17.968" v="5655"/>
          <ac:spMkLst>
            <pc:docMk/>
            <pc:sldMk cId="865606007" sldId="279"/>
            <ac:spMk id="140" creationId="{E7093019-A2E7-160C-AA27-0392BB17FE66}"/>
          </ac:spMkLst>
        </pc:spChg>
        <pc:spChg chg="add del mod modVis">
          <ac:chgData name="Oğuz Öztekin" userId="33c0df0f-d5fe-4bda-8f43-141ad7af67e3" providerId="ADAL" clId="{48B824AD-1B2A-47A8-8D92-6FE6E622A650}" dt="2024-12-16T09:09:45.178" v="4291"/>
          <ac:spMkLst>
            <pc:docMk/>
            <pc:sldMk cId="865606007" sldId="279"/>
            <ac:spMk id="141" creationId="{47E806E7-140C-22B4-146F-956FFA28C69E}"/>
          </ac:spMkLst>
        </pc:spChg>
        <pc:spChg chg="add del mod ord">
          <ac:chgData name="Oğuz Öztekin" userId="33c0df0f-d5fe-4bda-8f43-141ad7af67e3" providerId="ADAL" clId="{48B824AD-1B2A-47A8-8D92-6FE6E622A650}" dt="2024-12-16T09:10:15.467" v="5398"/>
          <ac:spMkLst>
            <pc:docMk/>
            <pc:sldMk cId="865606007" sldId="279"/>
            <ac:spMk id="142" creationId="{4CBB4C38-B9BF-BFFF-0335-4C596EFABED2}"/>
          </ac:spMkLst>
        </pc:spChg>
        <pc:spChg chg="add del mod">
          <ac:chgData name="Oğuz Öztekin" userId="33c0df0f-d5fe-4bda-8f43-141ad7af67e3" providerId="ADAL" clId="{48B824AD-1B2A-47A8-8D92-6FE6E622A650}" dt="2024-12-16T09:10:17.958" v="5636"/>
          <ac:spMkLst>
            <pc:docMk/>
            <pc:sldMk cId="865606007" sldId="279"/>
            <ac:spMk id="144" creationId="{00D96561-CB9E-741F-2BF5-3E59CA19C627}"/>
          </ac:spMkLst>
        </pc:spChg>
        <pc:spChg chg="add del mod">
          <ac:chgData name="Oğuz Öztekin" userId="33c0df0f-d5fe-4bda-8f43-141ad7af67e3" providerId="ADAL" clId="{48B824AD-1B2A-47A8-8D92-6FE6E622A650}" dt="2024-12-16T09:10:17.960" v="5639"/>
          <ac:spMkLst>
            <pc:docMk/>
            <pc:sldMk cId="865606007" sldId="279"/>
            <ac:spMk id="145" creationId="{93414964-4C5D-135B-026B-3104A42541B9}"/>
          </ac:spMkLst>
        </pc:spChg>
        <pc:spChg chg="add del mod">
          <ac:chgData name="Oğuz Öztekin" userId="33c0df0f-d5fe-4bda-8f43-141ad7af67e3" providerId="ADAL" clId="{48B824AD-1B2A-47A8-8D92-6FE6E622A650}" dt="2024-12-16T09:10:17.961" v="5642"/>
          <ac:spMkLst>
            <pc:docMk/>
            <pc:sldMk cId="865606007" sldId="279"/>
            <ac:spMk id="146" creationId="{0D2A77C9-906C-986E-081F-9657E598890F}"/>
          </ac:spMkLst>
        </pc:spChg>
        <pc:spChg chg="add del mod">
          <ac:chgData name="Oğuz Öztekin" userId="33c0df0f-d5fe-4bda-8f43-141ad7af67e3" providerId="ADAL" clId="{48B824AD-1B2A-47A8-8D92-6FE6E622A650}" dt="2024-12-16T09:10:17.963" v="5645"/>
          <ac:spMkLst>
            <pc:docMk/>
            <pc:sldMk cId="865606007" sldId="279"/>
            <ac:spMk id="147" creationId="{B495C91A-6094-C340-77C1-47682C5E99AD}"/>
          </ac:spMkLst>
        </pc:spChg>
        <pc:spChg chg="add del mod">
          <ac:chgData name="Oğuz Öztekin" userId="33c0df0f-d5fe-4bda-8f43-141ad7af67e3" providerId="ADAL" clId="{48B824AD-1B2A-47A8-8D92-6FE6E622A650}" dt="2024-12-16T09:10:17.965" v="5648"/>
          <ac:spMkLst>
            <pc:docMk/>
            <pc:sldMk cId="865606007" sldId="279"/>
            <ac:spMk id="148" creationId="{D6E8BCCA-5E73-C54D-DC58-588EEE291790}"/>
          </ac:spMkLst>
        </pc:spChg>
        <pc:spChg chg="add del mod">
          <ac:chgData name="Oğuz Öztekin" userId="33c0df0f-d5fe-4bda-8f43-141ad7af67e3" providerId="ADAL" clId="{48B824AD-1B2A-47A8-8D92-6FE6E622A650}" dt="2024-12-16T09:10:17.966" v="5651"/>
          <ac:spMkLst>
            <pc:docMk/>
            <pc:sldMk cId="865606007" sldId="279"/>
            <ac:spMk id="149" creationId="{4334328C-9D1F-9E06-A5BC-BC0B70F14520}"/>
          </ac:spMkLst>
        </pc:spChg>
        <pc:spChg chg="add del mod">
          <ac:chgData name="Oğuz Öztekin" userId="33c0df0f-d5fe-4bda-8f43-141ad7af67e3" providerId="ADAL" clId="{48B824AD-1B2A-47A8-8D92-6FE6E622A650}" dt="2024-12-16T09:10:17.968" v="5654"/>
          <ac:spMkLst>
            <pc:docMk/>
            <pc:sldMk cId="865606007" sldId="279"/>
            <ac:spMk id="150" creationId="{D5165FAD-ECA9-1CAA-C737-2683BB0B7382}"/>
          </ac:spMkLst>
        </pc:spChg>
        <pc:spChg chg="add del mod">
          <ac:chgData name="Oğuz Öztekin" userId="33c0df0f-d5fe-4bda-8f43-141ad7af67e3" providerId="ADAL" clId="{48B824AD-1B2A-47A8-8D92-6FE6E622A650}" dt="2024-12-16T09:10:17.970" v="5658"/>
          <ac:spMkLst>
            <pc:docMk/>
            <pc:sldMk cId="865606007" sldId="279"/>
            <ac:spMk id="151" creationId="{F742688A-F7DF-A0F6-D969-84F41559FE5C}"/>
          </ac:spMkLst>
        </pc:spChg>
        <pc:spChg chg="add del mod">
          <ac:chgData name="Oğuz Öztekin" userId="33c0df0f-d5fe-4bda-8f43-141ad7af67e3" providerId="ADAL" clId="{48B824AD-1B2A-47A8-8D92-6FE6E622A650}" dt="2024-12-16T09:10:17.971" v="5661"/>
          <ac:spMkLst>
            <pc:docMk/>
            <pc:sldMk cId="865606007" sldId="279"/>
            <ac:spMk id="152" creationId="{7E6640FC-5170-B0A2-F003-0F02F50087E5}"/>
          </ac:spMkLst>
        </pc:spChg>
        <pc:spChg chg="add del mod">
          <ac:chgData name="Oğuz Öztekin" userId="33c0df0f-d5fe-4bda-8f43-141ad7af67e3" providerId="ADAL" clId="{48B824AD-1B2A-47A8-8D92-6FE6E622A650}" dt="2024-12-16T09:10:17.973" v="5664"/>
          <ac:spMkLst>
            <pc:docMk/>
            <pc:sldMk cId="865606007" sldId="279"/>
            <ac:spMk id="153" creationId="{112CE0CC-A6BC-3AB7-CD6B-4A4E197E6E5C}"/>
          </ac:spMkLst>
        </pc:spChg>
        <pc:spChg chg="add del mod">
          <ac:chgData name="Oğuz Öztekin" userId="33c0df0f-d5fe-4bda-8f43-141ad7af67e3" providerId="ADAL" clId="{48B824AD-1B2A-47A8-8D92-6FE6E622A650}" dt="2024-12-16T09:10:17.974" v="5667"/>
          <ac:spMkLst>
            <pc:docMk/>
            <pc:sldMk cId="865606007" sldId="279"/>
            <ac:spMk id="154" creationId="{17CC0339-1A9B-A26A-341F-513D442FFCA3}"/>
          </ac:spMkLst>
        </pc:spChg>
        <pc:spChg chg="add del mod">
          <ac:chgData name="Oğuz Öztekin" userId="33c0df0f-d5fe-4bda-8f43-141ad7af67e3" providerId="ADAL" clId="{48B824AD-1B2A-47A8-8D92-6FE6E622A650}" dt="2024-12-16T09:10:17.976" v="5670"/>
          <ac:spMkLst>
            <pc:docMk/>
            <pc:sldMk cId="865606007" sldId="279"/>
            <ac:spMk id="155" creationId="{9076746C-DD66-D3DB-7F96-466430B606BE}"/>
          </ac:spMkLst>
        </pc:spChg>
        <pc:spChg chg="add del mod">
          <ac:chgData name="Oğuz Öztekin" userId="33c0df0f-d5fe-4bda-8f43-141ad7af67e3" providerId="ADAL" clId="{48B824AD-1B2A-47A8-8D92-6FE6E622A650}" dt="2024-12-16T09:10:17.977" v="5673"/>
          <ac:spMkLst>
            <pc:docMk/>
            <pc:sldMk cId="865606007" sldId="279"/>
            <ac:spMk id="156" creationId="{B7AEDFE0-002B-9AED-3E06-95E1872710BF}"/>
          </ac:spMkLst>
        </pc:spChg>
        <pc:spChg chg="add del mod">
          <ac:chgData name="Oğuz Öztekin" userId="33c0df0f-d5fe-4bda-8f43-141ad7af67e3" providerId="ADAL" clId="{48B824AD-1B2A-47A8-8D92-6FE6E622A650}" dt="2024-12-16T09:10:17.980" v="5676"/>
          <ac:spMkLst>
            <pc:docMk/>
            <pc:sldMk cId="865606007" sldId="279"/>
            <ac:spMk id="157" creationId="{5F147A80-E4D4-D579-03B5-BC2F574FDB2C}"/>
          </ac:spMkLst>
        </pc:spChg>
        <pc:spChg chg="add del mod">
          <ac:chgData name="Oğuz Öztekin" userId="33c0df0f-d5fe-4bda-8f43-141ad7af67e3" providerId="ADAL" clId="{48B824AD-1B2A-47A8-8D92-6FE6E622A650}" dt="2024-12-16T09:10:17.981" v="5679"/>
          <ac:spMkLst>
            <pc:docMk/>
            <pc:sldMk cId="865606007" sldId="279"/>
            <ac:spMk id="158" creationId="{86F39C22-04DB-1AC8-B453-F287A56C205A}"/>
          </ac:spMkLst>
        </pc:spChg>
        <pc:spChg chg="add del mod">
          <ac:chgData name="Oğuz Öztekin" userId="33c0df0f-d5fe-4bda-8f43-141ad7af67e3" providerId="ADAL" clId="{48B824AD-1B2A-47A8-8D92-6FE6E622A650}" dt="2024-12-16T09:10:17.983" v="5682"/>
          <ac:spMkLst>
            <pc:docMk/>
            <pc:sldMk cId="865606007" sldId="279"/>
            <ac:spMk id="159" creationId="{A5BB7CF3-B4A2-B4F1-BEBC-03FBE5CA182B}"/>
          </ac:spMkLst>
        </pc:spChg>
        <pc:spChg chg="add del mod">
          <ac:chgData name="Oğuz Öztekin" userId="33c0df0f-d5fe-4bda-8f43-141ad7af67e3" providerId="ADAL" clId="{48B824AD-1B2A-47A8-8D92-6FE6E622A650}" dt="2024-12-16T09:10:17.984" v="5685"/>
          <ac:spMkLst>
            <pc:docMk/>
            <pc:sldMk cId="865606007" sldId="279"/>
            <ac:spMk id="160" creationId="{A02C5C12-9B91-2ADD-F989-20959A556FD9}"/>
          </ac:spMkLst>
        </pc:spChg>
        <pc:spChg chg="add del mod">
          <ac:chgData name="Oğuz Öztekin" userId="33c0df0f-d5fe-4bda-8f43-141ad7af67e3" providerId="ADAL" clId="{48B824AD-1B2A-47A8-8D92-6FE6E622A650}" dt="2024-12-16T09:10:17.986" v="5688"/>
          <ac:spMkLst>
            <pc:docMk/>
            <pc:sldMk cId="865606007" sldId="279"/>
            <ac:spMk id="161" creationId="{A3F651A5-4E74-B0F0-2118-0973722BB781}"/>
          </ac:spMkLst>
        </pc:spChg>
        <pc:spChg chg="add del mod">
          <ac:chgData name="Oğuz Öztekin" userId="33c0df0f-d5fe-4bda-8f43-141ad7af67e3" providerId="ADAL" clId="{48B824AD-1B2A-47A8-8D92-6FE6E622A650}" dt="2024-12-16T09:10:17.987" v="5691"/>
          <ac:spMkLst>
            <pc:docMk/>
            <pc:sldMk cId="865606007" sldId="279"/>
            <ac:spMk id="162" creationId="{8D6D0347-4DF2-A922-ED83-EBEE18E4D11D}"/>
          </ac:spMkLst>
        </pc:spChg>
        <pc:spChg chg="add del mod">
          <ac:chgData name="Oğuz Öztekin" userId="33c0df0f-d5fe-4bda-8f43-141ad7af67e3" providerId="ADAL" clId="{48B824AD-1B2A-47A8-8D92-6FE6E622A650}" dt="2024-12-16T09:10:17.988" v="5694"/>
          <ac:spMkLst>
            <pc:docMk/>
            <pc:sldMk cId="865606007" sldId="279"/>
            <ac:spMk id="163" creationId="{9E327E7F-7E77-DBF0-72AD-45AD28764A69}"/>
          </ac:spMkLst>
        </pc:spChg>
        <pc:spChg chg="add del mod modVis">
          <ac:chgData name="Oğuz Öztekin" userId="33c0df0f-d5fe-4bda-8f43-141ad7af67e3" providerId="ADAL" clId="{48B824AD-1B2A-47A8-8D92-6FE6E622A650}" dt="2024-12-16T09:09:57.206" v="4983"/>
          <ac:spMkLst>
            <pc:docMk/>
            <pc:sldMk cId="865606007" sldId="279"/>
            <ac:spMk id="164" creationId="{1CE2FEAF-77EA-C206-A3ED-7AB397572043}"/>
          </ac:spMkLst>
        </pc:spChg>
        <pc:spChg chg="add del mod ord">
          <ac:chgData name="Oğuz Öztekin" userId="33c0df0f-d5fe-4bda-8f43-141ad7af67e3" providerId="ADAL" clId="{48B824AD-1B2A-47A8-8D92-6FE6E622A650}" dt="2024-12-16T09:10:15.470" v="5400"/>
          <ac:spMkLst>
            <pc:docMk/>
            <pc:sldMk cId="865606007" sldId="279"/>
            <ac:spMk id="165" creationId="{972AF1A5-AF26-A743-0FC3-4AF25B1E79B6}"/>
          </ac:spMkLst>
        </pc:spChg>
        <pc:spChg chg="add del mod">
          <ac:chgData name="Oğuz Öztekin" userId="33c0df0f-d5fe-4bda-8f43-141ad7af67e3" providerId="ADAL" clId="{48B824AD-1B2A-47A8-8D92-6FE6E622A650}" dt="2024-12-16T09:10:17.969" v="5657"/>
          <ac:spMkLst>
            <pc:docMk/>
            <pc:sldMk cId="865606007" sldId="279"/>
            <ac:spMk id="167" creationId="{F58F64B1-2FE1-C362-42D9-52F83E4AE69A}"/>
          </ac:spMkLst>
        </pc:spChg>
        <pc:spChg chg="add del mod">
          <ac:chgData name="Oğuz Öztekin" userId="33c0df0f-d5fe-4bda-8f43-141ad7af67e3" providerId="ADAL" clId="{48B824AD-1B2A-47A8-8D92-6FE6E622A650}" dt="2024-12-16T09:10:17.971" v="5660"/>
          <ac:spMkLst>
            <pc:docMk/>
            <pc:sldMk cId="865606007" sldId="279"/>
            <ac:spMk id="168" creationId="{A2F9BA80-CA36-F0CB-E752-C1BCE663FA4B}"/>
          </ac:spMkLst>
        </pc:spChg>
        <pc:spChg chg="add del mod">
          <ac:chgData name="Oğuz Öztekin" userId="33c0df0f-d5fe-4bda-8f43-141ad7af67e3" providerId="ADAL" clId="{48B824AD-1B2A-47A8-8D92-6FE6E622A650}" dt="2024-12-16T09:10:17.973" v="5663"/>
          <ac:spMkLst>
            <pc:docMk/>
            <pc:sldMk cId="865606007" sldId="279"/>
            <ac:spMk id="169" creationId="{3AAE3591-6F38-4DB3-24A8-EF20E2167BB8}"/>
          </ac:spMkLst>
        </pc:spChg>
        <pc:spChg chg="add del mod">
          <ac:chgData name="Oğuz Öztekin" userId="33c0df0f-d5fe-4bda-8f43-141ad7af67e3" providerId="ADAL" clId="{48B824AD-1B2A-47A8-8D92-6FE6E622A650}" dt="2024-12-16T09:10:17.974" v="5666"/>
          <ac:spMkLst>
            <pc:docMk/>
            <pc:sldMk cId="865606007" sldId="279"/>
            <ac:spMk id="170" creationId="{B3D4BB76-0B9A-0A60-0F07-B40BE1CA364B}"/>
          </ac:spMkLst>
        </pc:spChg>
        <pc:spChg chg="add del mod">
          <ac:chgData name="Oğuz Öztekin" userId="33c0df0f-d5fe-4bda-8f43-141ad7af67e3" providerId="ADAL" clId="{48B824AD-1B2A-47A8-8D92-6FE6E622A650}" dt="2024-12-16T09:10:17.975" v="5669"/>
          <ac:spMkLst>
            <pc:docMk/>
            <pc:sldMk cId="865606007" sldId="279"/>
            <ac:spMk id="171" creationId="{9746EFC0-8C17-F0CD-4301-975C6341EB68}"/>
          </ac:spMkLst>
        </pc:spChg>
        <pc:spChg chg="add del mod">
          <ac:chgData name="Oğuz Öztekin" userId="33c0df0f-d5fe-4bda-8f43-141ad7af67e3" providerId="ADAL" clId="{48B824AD-1B2A-47A8-8D92-6FE6E622A650}" dt="2024-12-16T09:10:17.977" v="5672"/>
          <ac:spMkLst>
            <pc:docMk/>
            <pc:sldMk cId="865606007" sldId="279"/>
            <ac:spMk id="172" creationId="{E3FEE70C-6181-9766-1D68-AD49A5974F1B}"/>
          </ac:spMkLst>
        </pc:spChg>
        <pc:spChg chg="add del mod">
          <ac:chgData name="Oğuz Öztekin" userId="33c0df0f-d5fe-4bda-8f43-141ad7af67e3" providerId="ADAL" clId="{48B824AD-1B2A-47A8-8D92-6FE6E622A650}" dt="2024-12-16T09:10:17.979" v="5675"/>
          <ac:spMkLst>
            <pc:docMk/>
            <pc:sldMk cId="865606007" sldId="279"/>
            <ac:spMk id="173" creationId="{1AE77FB3-30DC-D6C5-CF66-F06D6C0282D6}"/>
          </ac:spMkLst>
        </pc:spChg>
        <pc:spChg chg="add del mod">
          <ac:chgData name="Oğuz Öztekin" userId="33c0df0f-d5fe-4bda-8f43-141ad7af67e3" providerId="ADAL" clId="{48B824AD-1B2A-47A8-8D92-6FE6E622A650}" dt="2024-12-16T09:10:17.980" v="5678"/>
          <ac:spMkLst>
            <pc:docMk/>
            <pc:sldMk cId="865606007" sldId="279"/>
            <ac:spMk id="174" creationId="{A455A4A9-5F5C-8D02-292A-3C0A3735D27D}"/>
          </ac:spMkLst>
        </pc:spChg>
        <pc:spChg chg="add del mod">
          <ac:chgData name="Oğuz Öztekin" userId="33c0df0f-d5fe-4bda-8f43-141ad7af67e3" providerId="ADAL" clId="{48B824AD-1B2A-47A8-8D92-6FE6E622A650}" dt="2024-12-16T09:10:17.982" v="5681"/>
          <ac:spMkLst>
            <pc:docMk/>
            <pc:sldMk cId="865606007" sldId="279"/>
            <ac:spMk id="175" creationId="{0C0EF021-00BB-FAFB-ECCC-EC78F85DDFDE}"/>
          </ac:spMkLst>
        </pc:spChg>
        <pc:spChg chg="add del mod">
          <ac:chgData name="Oğuz Öztekin" userId="33c0df0f-d5fe-4bda-8f43-141ad7af67e3" providerId="ADAL" clId="{48B824AD-1B2A-47A8-8D92-6FE6E622A650}" dt="2024-12-16T09:10:17.984" v="5684"/>
          <ac:spMkLst>
            <pc:docMk/>
            <pc:sldMk cId="865606007" sldId="279"/>
            <ac:spMk id="176" creationId="{B017A78A-AD74-224E-C7EF-DE087E593069}"/>
          </ac:spMkLst>
        </pc:spChg>
        <pc:spChg chg="add del mod">
          <ac:chgData name="Oğuz Öztekin" userId="33c0df0f-d5fe-4bda-8f43-141ad7af67e3" providerId="ADAL" clId="{48B824AD-1B2A-47A8-8D92-6FE6E622A650}" dt="2024-12-16T09:10:17.985" v="5687"/>
          <ac:spMkLst>
            <pc:docMk/>
            <pc:sldMk cId="865606007" sldId="279"/>
            <ac:spMk id="177" creationId="{6C1DBADE-D94C-966B-0334-7342CA30B059}"/>
          </ac:spMkLst>
        </pc:spChg>
        <pc:spChg chg="add del mod">
          <ac:chgData name="Oğuz Öztekin" userId="33c0df0f-d5fe-4bda-8f43-141ad7af67e3" providerId="ADAL" clId="{48B824AD-1B2A-47A8-8D92-6FE6E622A650}" dt="2024-12-16T09:10:17.987" v="5690"/>
          <ac:spMkLst>
            <pc:docMk/>
            <pc:sldMk cId="865606007" sldId="279"/>
            <ac:spMk id="178" creationId="{488578A3-D993-2D91-3EFC-85D8483B6458}"/>
          </ac:spMkLst>
        </pc:spChg>
        <pc:spChg chg="add del mod">
          <ac:chgData name="Oğuz Öztekin" userId="33c0df0f-d5fe-4bda-8f43-141ad7af67e3" providerId="ADAL" clId="{48B824AD-1B2A-47A8-8D92-6FE6E622A650}" dt="2024-12-16T09:10:17.988" v="5693"/>
          <ac:spMkLst>
            <pc:docMk/>
            <pc:sldMk cId="865606007" sldId="279"/>
            <ac:spMk id="179" creationId="{FEEA5220-B3F3-A00A-26C4-20AFA2AF367F}"/>
          </ac:spMkLst>
        </pc:spChg>
        <pc:spChg chg="add del mod modVis">
          <ac:chgData name="Oğuz Öztekin" userId="33c0df0f-d5fe-4bda-8f43-141ad7af67e3" providerId="ADAL" clId="{48B824AD-1B2A-47A8-8D92-6FE6E622A650}" dt="2024-12-16T09:10:09.788" v="5215"/>
          <ac:spMkLst>
            <pc:docMk/>
            <pc:sldMk cId="865606007" sldId="279"/>
            <ac:spMk id="180" creationId="{6A5B9BE5-DA1A-F6D0-EB45-F13E9A2FD107}"/>
          </ac:spMkLst>
        </pc:spChg>
        <pc:spChg chg="add del mod ord">
          <ac:chgData name="Oğuz Öztekin" userId="33c0df0f-d5fe-4bda-8f43-141ad7af67e3" providerId="ADAL" clId="{48B824AD-1B2A-47A8-8D92-6FE6E622A650}" dt="2024-12-16T09:10:15.471" v="5403"/>
          <ac:spMkLst>
            <pc:docMk/>
            <pc:sldMk cId="865606007" sldId="279"/>
            <ac:spMk id="181" creationId="{9D8DC771-C8E1-C04D-B06B-B7BEE847F11D}"/>
          </ac:spMkLst>
        </pc:spChg>
        <pc:spChg chg="add del mod modVis">
          <ac:chgData name="Oğuz Öztekin" userId="33c0df0f-d5fe-4bda-8f43-141ad7af67e3" providerId="ADAL" clId="{48B824AD-1B2A-47A8-8D92-6FE6E622A650}" dt="2024-12-16T09:10:13.738" v="5392"/>
          <ac:spMkLst>
            <pc:docMk/>
            <pc:sldMk cId="865606007" sldId="279"/>
            <ac:spMk id="183" creationId="{4056947C-1854-0BA5-7572-7DB761B103EA}"/>
          </ac:spMkLst>
        </pc:spChg>
        <pc:spChg chg="add del mod modVis">
          <ac:chgData name="Oğuz Öztekin" userId="33c0df0f-d5fe-4bda-8f43-141ad7af67e3" providerId="ADAL" clId="{48B824AD-1B2A-47A8-8D92-6FE6E622A650}" dt="2024-12-16T09:10:15.637" v="5609"/>
          <ac:spMkLst>
            <pc:docMk/>
            <pc:sldMk cId="865606007" sldId="279"/>
            <ac:spMk id="185" creationId="{F3A5DF60-D281-2496-6B46-22EF6259B017}"/>
          </ac:spMkLst>
        </pc:spChg>
        <pc:spChg chg="add del mod modVis">
          <ac:chgData name="Oğuz Öztekin" userId="33c0df0f-d5fe-4bda-8f43-141ad7af67e3" providerId="ADAL" clId="{48B824AD-1B2A-47A8-8D92-6FE6E622A650}" dt="2024-12-16T09:10:18.063" v="5784"/>
          <ac:spMkLst>
            <pc:docMk/>
            <pc:sldMk cId="865606007" sldId="279"/>
            <ac:spMk id="187" creationId="{A2748EF0-2E67-156C-B2C3-18BB56984D79}"/>
          </ac:spMkLst>
        </pc:spChg>
        <pc:spChg chg="add del mod modVis">
          <ac:chgData name="Oğuz Öztekin" userId="33c0df0f-d5fe-4bda-8f43-141ad7af67e3" providerId="ADAL" clId="{48B824AD-1B2A-47A8-8D92-6FE6E622A650}" dt="2024-12-16T09:10:20.195" v="5904"/>
          <ac:spMkLst>
            <pc:docMk/>
            <pc:sldMk cId="865606007" sldId="279"/>
            <ac:spMk id="189" creationId="{A0372630-82FC-502E-7502-613398006543}"/>
          </ac:spMkLst>
        </pc:spChg>
        <pc:spChg chg="add mod">
          <ac:chgData name="Oğuz Öztekin" userId="33c0df0f-d5fe-4bda-8f43-141ad7af67e3" providerId="ADAL" clId="{48B824AD-1B2A-47A8-8D92-6FE6E622A650}" dt="2024-12-16T09:21:02.880" v="25997"/>
          <ac:spMkLst>
            <pc:docMk/>
            <pc:sldMk cId="865606007" sldId="279"/>
            <ac:spMk id="191" creationId="{86DC1F13-D0DD-9BBB-F908-78DDC3218BD2}"/>
          </ac:spMkLst>
        </pc:spChg>
        <pc:spChg chg="add mod">
          <ac:chgData name="Oğuz Öztekin" userId="33c0df0f-d5fe-4bda-8f43-141ad7af67e3" providerId="ADAL" clId="{48B824AD-1B2A-47A8-8D92-6FE6E622A650}" dt="2024-12-16T09:21:02.880" v="25998"/>
          <ac:spMkLst>
            <pc:docMk/>
            <pc:sldMk cId="865606007" sldId="279"/>
            <ac:spMk id="192" creationId="{E7548B9C-1262-972C-27FE-B750D79D62B7}"/>
          </ac:spMkLst>
        </pc:spChg>
        <pc:spChg chg="add del mod">
          <ac:chgData name="Oğuz Öztekin" userId="33c0df0f-d5fe-4bda-8f43-141ad7af67e3" providerId="ADAL" clId="{48B824AD-1B2A-47A8-8D92-6FE6E622A650}" dt="2024-12-16T09:10:52.071" v="8915"/>
          <ac:spMkLst>
            <pc:docMk/>
            <pc:sldMk cId="865606007" sldId="279"/>
            <ac:spMk id="193" creationId="{87FF4CFA-E40F-47D9-6DBE-66D272AA028A}"/>
          </ac:spMkLst>
        </pc:spChg>
        <pc:spChg chg="add del mod">
          <ac:chgData name="Oğuz Öztekin" userId="33c0df0f-d5fe-4bda-8f43-141ad7af67e3" providerId="ADAL" clId="{48B824AD-1B2A-47A8-8D92-6FE6E622A650}" dt="2024-12-16T09:10:52.072" v="8918"/>
          <ac:spMkLst>
            <pc:docMk/>
            <pc:sldMk cId="865606007" sldId="279"/>
            <ac:spMk id="194" creationId="{5B713A44-1FA1-287F-AF63-518D34F57ABB}"/>
          </ac:spMkLst>
        </pc:spChg>
        <pc:spChg chg="add del mod">
          <ac:chgData name="Oğuz Öztekin" userId="33c0df0f-d5fe-4bda-8f43-141ad7af67e3" providerId="ADAL" clId="{48B824AD-1B2A-47A8-8D92-6FE6E622A650}" dt="2024-12-16T09:10:52.073" v="8921"/>
          <ac:spMkLst>
            <pc:docMk/>
            <pc:sldMk cId="865606007" sldId="279"/>
            <ac:spMk id="195" creationId="{6CBA59C9-31A6-2665-686E-34526599D504}"/>
          </ac:spMkLst>
        </pc:spChg>
        <pc:spChg chg="add del mod">
          <ac:chgData name="Oğuz Öztekin" userId="33c0df0f-d5fe-4bda-8f43-141ad7af67e3" providerId="ADAL" clId="{48B824AD-1B2A-47A8-8D92-6FE6E622A650}" dt="2024-12-16T09:10:52.074" v="8924"/>
          <ac:spMkLst>
            <pc:docMk/>
            <pc:sldMk cId="865606007" sldId="279"/>
            <ac:spMk id="196" creationId="{C9F38F38-D27E-B9DC-C6FB-93F42F2B6409}"/>
          </ac:spMkLst>
        </pc:spChg>
        <pc:spChg chg="add del mod">
          <ac:chgData name="Oğuz Öztekin" userId="33c0df0f-d5fe-4bda-8f43-141ad7af67e3" providerId="ADAL" clId="{48B824AD-1B2A-47A8-8D92-6FE6E622A650}" dt="2024-12-16T09:10:52.075" v="8927"/>
          <ac:spMkLst>
            <pc:docMk/>
            <pc:sldMk cId="865606007" sldId="279"/>
            <ac:spMk id="197" creationId="{0B643865-A8E3-7035-98EB-B67C4A6BC84E}"/>
          </ac:spMkLst>
        </pc:spChg>
        <pc:spChg chg="add del mod">
          <ac:chgData name="Oğuz Öztekin" userId="33c0df0f-d5fe-4bda-8f43-141ad7af67e3" providerId="ADAL" clId="{48B824AD-1B2A-47A8-8D92-6FE6E622A650}" dt="2024-12-16T09:10:52.076" v="8930"/>
          <ac:spMkLst>
            <pc:docMk/>
            <pc:sldMk cId="865606007" sldId="279"/>
            <ac:spMk id="198" creationId="{70BD03AA-61F8-4F63-2522-958F2B0C4F4E}"/>
          </ac:spMkLst>
        </pc:spChg>
        <pc:spChg chg="add del mod">
          <ac:chgData name="Oğuz Öztekin" userId="33c0df0f-d5fe-4bda-8f43-141ad7af67e3" providerId="ADAL" clId="{48B824AD-1B2A-47A8-8D92-6FE6E622A650}" dt="2024-12-16T09:10:52.077" v="8933"/>
          <ac:spMkLst>
            <pc:docMk/>
            <pc:sldMk cId="865606007" sldId="279"/>
            <ac:spMk id="199" creationId="{B750C2DF-3586-907A-802F-B030B7F5553F}"/>
          </ac:spMkLst>
        </pc:spChg>
        <pc:spChg chg="add del mod">
          <ac:chgData name="Oğuz Öztekin" userId="33c0df0f-d5fe-4bda-8f43-141ad7af67e3" providerId="ADAL" clId="{48B824AD-1B2A-47A8-8D92-6FE6E622A650}" dt="2024-12-16T09:10:52.078" v="8936"/>
          <ac:spMkLst>
            <pc:docMk/>
            <pc:sldMk cId="865606007" sldId="279"/>
            <ac:spMk id="200" creationId="{04985CFD-FE32-FF10-D8B3-7CE2273CF7D3}"/>
          </ac:spMkLst>
        </pc:spChg>
        <pc:spChg chg="add del mod">
          <ac:chgData name="Oğuz Öztekin" userId="33c0df0f-d5fe-4bda-8f43-141ad7af67e3" providerId="ADAL" clId="{48B824AD-1B2A-47A8-8D92-6FE6E622A650}" dt="2024-12-16T09:10:52.078" v="8939"/>
          <ac:spMkLst>
            <pc:docMk/>
            <pc:sldMk cId="865606007" sldId="279"/>
            <ac:spMk id="201" creationId="{007E14DD-D22F-46DD-1C71-C3D12E7F6305}"/>
          </ac:spMkLst>
        </pc:spChg>
        <pc:spChg chg="add del mod">
          <ac:chgData name="Oğuz Öztekin" userId="33c0df0f-d5fe-4bda-8f43-141ad7af67e3" providerId="ADAL" clId="{48B824AD-1B2A-47A8-8D92-6FE6E622A650}" dt="2024-12-16T09:10:52.080" v="8942"/>
          <ac:spMkLst>
            <pc:docMk/>
            <pc:sldMk cId="865606007" sldId="279"/>
            <ac:spMk id="202" creationId="{D39C76E4-3D1B-9532-7D0D-7F0A38E7C997}"/>
          </ac:spMkLst>
        </pc:spChg>
        <pc:spChg chg="add del mod">
          <ac:chgData name="Oğuz Öztekin" userId="33c0df0f-d5fe-4bda-8f43-141ad7af67e3" providerId="ADAL" clId="{48B824AD-1B2A-47A8-8D92-6FE6E622A650}" dt="2024-12-16T09:10:52.081" v="8945"/>
          <ac:spMkLst>
            <pc:docMk/>
            <pc:sldMk cId="865606007" sldId="279"/>
            <ac:spMk id="203" creationId="{5F241F85-5410-2E0F-25D4-048DA59AFC02}"/>
          </ac:spMkLst>
        </pc:spChg>
        <pc:spChg chg="add del mod">
          <ac:chgData name="Oğuz Öztekin" userId="33c0df0f-d5fe-4bda-8f43-141ad7af67e3" providerId="ADAL" clId="{48B824AD-1B2A-47A8-8D92-6FE6E622A650}" dt="2024-12-16T09:10:52.082" v="8948"/>
          <ac:spMkLst>
            <pc:docMk/>
            <pc:sldMk cId="865606007" sldId="279"/>
            <ac:spMk id="204" creationId="{EC3645E1-AFCF-D2A6-B2CC-2E39B493FC51}"/>
          </ac:spMkLst>
        </pc:spChg>
        <pc:spChg chg="add del mod">
          <ac:chgData name="Oğuz Öztekin" userId="33c0df0f-d5fe-4bda-8f43-141ad7af67e3" providerId="ADAL" clId="{48B824AD-1B2A-47A8-8D92-6FE6E622A650}" dt="2024-12-16T09:10:52.082" v="8951"/>
          <ac:spMkLst>
            <pc:docMk/>
            <pc:sldMk cId="865606007" sldId="279"/>
            <ac:spMk id="205" creationId="{5B39664F-0457-AFF4-7F29-D1D4151F6633}"/>
          </ac:spMkLst>
        </pc:spChg>
        <pc:spChg chg="add del mod">
          <ac:chgData name="Oğuz Öztekin" userId="33c0df0f-d5fe-4bda-8f43-141ad7af67e3" providerId="ADAL" clId="{48B824AD-1B2A-47A8-8D92-6FE6E622A650}" dt="2024-12-16T09:10:52.083" v="8954"/>
          <ac:spMkLst>
            <pc:docMk/>
            <pc:sldMk cId="865606007" sldId="279"/>
            <ac:spMk id="206" creationId="{047EB936-3B33-4E0B-1C00-2141668DB99C}"/>
          </ac:spMkLst>
        </pc:spChg>
        <pc:spChg chg="add del mod">
          <ac:chgData name="Oğuz Öztekin" userId="33c0df0f-d5fe-4bda-8f43-141ad7af67e3" providerId="ADAL" clId="{48B824AD-1B2A-47A8-8D92-6FE6E622A650}" dt="2024-12-16T09:10:52.084" v="8957"/>
          <ac:spMkLst>
            <pc:docMk/>
            <pc:sldMk cId="865606007" sldId="279"/>
            <ac:spMk id="207" creationId="{46E967AC-BA35-B7B4-2A33-6F6FCA5FF54B}"/>
          </ac:spMkLst>
        </pc:spChg>
        <pc:spChg chg="add del mod">
          <ac:chgData name="Oğuz Öztekin" userId="33c0df0f-d5fe-4bda-8f43-141ad7af67e3" providerId="ADAL" clId="{48B824AD-1B2A-47A8-8D92-6FE6E622A650}" dt="2024-12-16T09:10:52.085" v="8960"/>
          <ac:spMkLst>
            <pc:docMk/>
            <pc:sldMk cId="865606007" sldId="279"/>
            <ac:spMk id="208" creationId="{B3070123-887D-092D-3F34-5396FA791F94}"/>
          </ac:spMkLst>
        </pc:spChg>
        <pc:spChg chg="add del mod modVis">
          <ac:chgData name="Oğuz Öztekin" userId="33c0df0f-d5fe-4bda-8f43-141ad7af67e3" providerId="ADAL" clId="{48B824AD-1B2A-47A8-8D92-6FE6E622A650}" dt="2024-12-16T09:10:27.685" v="6815"/>
          <ac:spMkLst>
            <pc:docMk/>
            <pc:sldMk cId="865606007" sldId="279"/>
            <ac:spMk id="209" creationId="{6395CEE3-D472-39E7-85EF-26863EC0B36E}"/>
          </ac:spMkLst>
        </pc:spChg>
        <pc:spChg chg="add del mod modVis">
          <ac:chgData name="Oğuz Öztekin" userId="33c0df0f-d5fe-4bda-8f43-141ad7af67e3" providerId="ADAL" clId="{48B824AD-1B2A-47A8-8D92-6FE6E622A650}" dt="2024-12-16T09:10:29.401" v="7234"/>
          <ac:spMkLst>
            <pc:docMk/>
            <pc:sldMk cId="865606007" sldId="279"/>
            <ac:spMk id="229" creationId="{EF7A9703-047D-51A5-ED25-9BDA4073421D}"/>
          </ac:spMkLst>
        </pc:spChg>
        <pc:spChg chg="add del mod modVis">
          <ac:chgData name="Oğuz Öztekin" userId="33c0df0f-d5fe-4bda-8f43-141ad7af67e3" providerId="ADAL" clId="{48B824AD-1B2A-47A8-8D92-6FE6E622A650}" dt="2024-12-16T09:10:30.417" v="7653"/>
          <ac:spMkLst>
            <pc:docMk/>
            <pc:sldMk cId="865606007" sldId="279"/>
            <ac:spMk id="231" creationId="{52930AFA-B318-3DEC-1575-8CE9C0749DF2}"/>
          </ac:spMkLst>
        </pc:spChg>
        <pc:spChg chg="add del mod modVis">
          <ac:chgData name="Oğuz Öztekin" userId="33c0df0f-d5fe-4bda-8f43-141ad7af67e3" providerId="ADAL" clId="{48B824AD-1B2A-47A8-8D92-6FE6E622A650}" dt="2024-12-16T09:10:40.095" v="8072"/>
          <ac:spMkLst>
            <pc:docMk/>
            <pc:sldMk cId="865606007" sldId="279"/>
            <ac:spMk id="233" creationId="{3ABC3E50-D89D-92AE-FBA6-6D072DE64875}"/>
          </ac:spMkLst>
        </pc:spChg>
        <pc:spChg chg="add del mod modVis">
          <ac:chgData name="Oğuz Öztekin" userId="33c0df0f-d5fe-4bda-8f43-141ad7af67e3" providerId="ADAL" clId="{48B824AD-1B2A-47A8-8D92-6FE6E622A650}" dt="2024-12-16T09:10:42.690" v="8491"/>
          <ac:spMkLst>
            <pc:docMk/>
            <pc:sldMk cId="865606007" sldId="279"/>
            <ac:spMk id="235" creationId="{D2788B23-73C0-9E32-5E0B-546B0D11094E}"/>
          </ac:spMkLst>
        </pc:spChg>
        <pc:spChg chg="add del mod modVis">
          <ac:chgData name="Oğuz Öztekin" userId="33c0df0f-d5fe-4bda-8f43-141ad7af67e3" providerId="ADAL" clId="{48B824AD-1B2A-47A8-8D92-6FE6E622A650}" dt="2024-12-16T09:10:48.684" v="8910"/>
          <ac:spMkLst>
            <pc:docMk/>
            <pc:sldMk cId="865606007" sldId="279"/>
            <ac:spMk id="237" creationId="{175F1B3F-9AFF-5512-85CB-DE6B4BF6E360}"/>
          </ac:spMkLst>
        </pc:spChg>
        <pc:spChg chg="add del mod modVis">
          <ac:chgData name="Oğuz Öztekin" userId="33c0df0f-d5fe-4bda-8f43-141ad7af67e3" providerId="ADAL" clId="{48B824AD-1B2A-47A8-8D92-6FE6E622A650}" dt="2024-12-16T09:10:52.185" v="9089"/>
          <ac:spMkLst>
            <pc:docMk/>
            <pc:sldMk cId="865606007" sldId="279"/>
            <ac:spMk id="239" creationId="{EAFA3E26-7E0B-8CA8-6EF9-C6EE01CA6B78}"/>
          </ac:spMkLst>
        </pc:spChg>
        <pc:spChg chg="add del mod modVis">
          <ac:chgData name="Oğuz Öztekin" userId="33c0df0f-d5fe-4bda-8f43-141ad7af67e3" providerId="ADAL" clId="{48B824AD-1B2A-47A8-8D92-6FE6E622A650}" dt="2024-12-16T09:11:00.079" v="9198"/>
          <ac:spMkLst>
            <pc:docMk/>
            <pc:sldMk cId="865606007" sldId="279"/>
            <ac:spMk id="241" creationId="{B5989105-0EFC-2050-0487-62FE68AC669E}"/>
          </ac:spMkLst>
        </pc:spChg>
        <pc:spChg chg="add del mod modVis">
          <ac:chgData name="Oğuz Öztekin" userId="33c0df0f-d5fe-4bda-8f43-141ad7af67e3" providerId="ADAL" clId="{48B824AD-1B2A-47A8-8D92-6FE6E622A650}" dt="2024-12-16T09:11:02.176" v="9307"/>
          <ac:spMkLst>
            <pc:docMk/>
            <pc:sldMk cId="865606007" sldId="279"/>
            <ac:spMk id="243" creationId="{D56EC35C-2A50-9C34-2CF8-CD45E172DF72}"/>
          </ac:spMkLst>
        </pc:spChg>
        <pc:spChg chg="add del mod modVis">
          <ac:chgData name="Oğuz Öztekin" userId="33c0df0f-d5fe-4bda-8f43-141ad7af67e3" providerId="ADAL" clId="{48B824AD-1B2A-47A8-8D92-6FE6E622A650}" dt="2024-12-16T09:11:04.866" v="9436"/>
          <ac:spMkLst>
            <pc:docMk/>
            <pc:sldMk cId="865606007" sldId="279"/>
            <ac:spMk id="245" creationId="{BD99A308-121C-0AEB-B6B9-E2BAB046DB93}"/>
          </ac:spMkLst>
        </pc:spChg>
        <pc:spChg chg="add del mod modVis">
          <ac:chgData name="Oğuz Öztekin" userId="33c0df0f-d5fe-4bda-8f43-141ad7af67e3" providerId="ADAL" clId="{48B824AD-1B2A-47A8-8D92-6FE6E622A650}" dt="2024-12-16T09:11:35.914" v="9637"/>
          <ac:spMkLst>
            <pc:docMk/>
            <pc:sldMk cId="865606007" sldId="279"/>
            <ac:spMk id="247" creationId="{861702CF-7C3F-3651-D2D5-BF62086DDE1A}"/>
          </ac:spMkLst>
        </pc:spChg>
        <pc:spChg chg="add del mod modVis">
          <ac:chgData name="Oğuz Öztekin" userId="33c0df0f-d5fe-4bda-8f43-141ad7af67e3" providerId="ADAL" clId="{48B824AD-1B2A-47A8-8D92-6FE6E622A650}" dt="2024-12-16T09:17:24.853" v="18046"/>
          <ac:spMkLst>
            <pc:docMk/>
            <pc:sldMk cId="865606007" sldId="279"/>
            <ac:spMk id="249" creationId="{D4821B4D-363D-56C2-E364-BEF01066C4F9}"/>
          </ac:spMkLst>
        </pc:spChg>
        <pc:spChg chg="add del mod modVis">
          <ac:chgData name="Oğuz Öztekin" userId="33c0df0f-d5fe-4bda-8f43-141ad7af67e3" providerId="ADAL" clId="{48B824AD-1B2A-47A8-8D92-6FE6E622A650}" dt="2024-12-16T09:17:28.589" v="18160"/>
          <ac:spMkLst>
            <pc:docMk/>
            <pc:sldMk cId="865606007" sldId="279"/>
            <ac:spMk id="251" creationId="{FA394C63-3154-567C-78B8-8BB799805374}"/>
          </ac:spMkLst>
        </pc:spChg>
        <pc:spChg chg="add del mod modVis">
          <ac:chgData name="Oğuz Öztekin" userId="33c0df0f-d5fe-4bda-8f43-141ad7af67e3" providerId="ADAL" clId="{48B824AD-1B2A-47A8-8D92-6FE6E622A650}" dt="2024-12-16T09:17:36.320" v="18818"/>
          <ac:spMkLst>
            <pc:docMk/>
            <pc:sldMk cId="865606007" sldId="279"/>
            <ac:spMk id="253" creationId="{423562CC-8CFE-F374-DA26-76F1144A79CA}"/>
          </ac:spMkLst>
        </pc:spChg>
        <pc:spChg chg="add del mod">
          <ac:chgData name="Oğuz Öztekin" userId="33c0df0f-d5fe-4bda-8f43-141ad7af67e3" providerId="ADAL" clId="{48B824AD-1B2A-47A8-8D92-6FE6E622A650}" dt="2024-12-16T09:18:44.925" v="21578"/>
          <ac:spMkLst>
            <pc:docMk/>
            <pc:sldMk cId="865606007" sldId="279"/>
            <ac:spMk id="254" creationId="{140537F4-28BC-1C55-885D-CC94C7FB5C22}"/>
          </ac:spMkLst>
        </pc:spChg>
        <pc:spChg chg="add del mod">
          <ac:chgData name="Oğuz Öztekin" userId="33c0df0f-d5fe-4bda-8f43-141ad7af67e3" providerId="ADAL" clId="{48B824AD-1B2A-47A8-8D92-6FE6E622A650}" dt="2024-12-16T09:18:44.273" v="21454"/>
          <ac:spMkLst>
            <pc:docMk/>
            <pc:sldMk cId="865606007" sldId="279"/>
            <ac:spMk id="255" creationId="{E3B9D2A0-9561-ADF4-5D56-12279CB1E074}"/>
          </ac:spMkLst>
        </pc:spChg>
        <pc:spChg chg="add del mod">
          <ac:chgData name="Oğuz Öztekin" userId="33c0df0f-d5fe-4bda-8f43-141ad7af67e3" providerId="ADAL" clId="{48B824AD-1B2A-47A8-8D92-6FE6E622A650}" dt="2024-12-16T09:18:43.338" v="21327"/>
          <ac:spMkLst>
            <pc:docMk/>
            <pc:sldMk cId="865606007" sldId="279"/>
            <ac:spMk id="256" creationId="{B6924281-D1BF-DD7D-ABDC-EB507942BC50}"/>
          </ac:spMkLst>
        </pc:spChg>
        <pc:spChg chg="add del mod">
          <ac:chgData name="Oğuz Öztekin" userId="33c0df0f-d5fe-4bda-8f43-141ad7af67e3" providerId="ADAL" clId="{48B824AD-1B2A-47A8-8D92-6FE6E622A650}" dt="2024-12-16T09:18:42.133" v="21198"/>
          <ac:spMkLst>
            <pc:docMk/>
            <pc:sldMk cId="865606007" sldId="279"/>
            <ac:spMk id="257" creationId="{BAB59622-8448-1B83-1F97-514AA8C51144}"/>
          </ac:spMkLst>
        </pc:spChg>
        <pc:spChg chg="add del mod">
          <ac:chgData name="Oğuz Öztekin" userId="33c0df0f-d5fe-4bda-8f43-141ad7af67e3" providerId="ADAL" clId="{48B824AD-1B2A-47A8-8D92-6FE6E622A650}" dt="2024-12-16T09:18:39.911" v="20936"/>
          <ac:spMkLst>
            <pc:docMk/>
            <pc:sldMk cId="865606007" sldId="279"/>
            <ac:spMk id="258" creationId="{76551319-163C-2A61-08CD-EFB0A779F6B4}"/>
          </ac:spMkLst>
        </pc:spChg>
        <pc:spChg chg="add del mod">
          <ac:chgData name="Oğuz Öztekin" userId="33c0df0f-d5fe-4bda-8f43-141ad7af67e3" providerId="ADAL" clId="{48B824AD-1B2A-47A8-8D92-6FE6E622A650}" dt="2024-12-16T09:18:38.143" v="20671"/>
          <ac:spMkLst>
            <pc:docMk/>
            <pc:sldMk cId="865606007" sldId="279"/>
            <ac:spMk id="259" creationId="{79E40723-596B-EDE5-A47B-5680A83130AF}"/>
          </ac:spMkLst>
        </pc:spChg>
        <pc:spChg chg="add del mod">
          <ac:chgData name="Oğuz Öztekin" userId="33c0df0f-d5fe-4bda-8f43-141ad7af67e3" providerId="ADAL" clId="{48B824AD-1B2A-47A8-8D92-6FE6E622A650}" dt="2024-12-16T09:18:33.334" v="20268"/>
          <ac:spMkLst>
            <pc:docMk/>
            <pc:sldMk cId="865606007" sldId="279"/>
            <ac:spMk id="260" creationId="{3E820B8B-5F6B-374D-DB30-4A320F2D9774}"/>
          </ac:spMkLst>
        </pc:spChg>
        <pc:spChg chg="add del mod">
          <ac:chgData name="Oğuz Öztekin" userId="33c0df0f-d5fe-4bda-8f43-141ad7af67e3" providerId="ADAL" clId="{48B824AD-1B2A-47A8-8D92-6FE6E622A650}" dt="2024-12-16T09:18:50.451" v="22094"/>
          <ac:spMkLst>
            <pc:docMk/>
            <pc:sldMk cId="865606007" sldId="279"/>
            <ac:spMk id="261" creationId="{730C57DF-7962-C050-9AFF-B9D015914CDA}"/>
          </ac:spMkLst>
        </pc:spChg>
        <pc:spChg chg="add del mod">
          <ac:chgData name="Oğuz Öztekin" userId="33c0df0f-d5fe-4bda-8f43-141ad7af67e3" providerId="ADAL" clId="{48B824AD-1B2A-47A8-8D92-6FE6E622A650}" dt="2024-12-16T09:18:49.187" v="21976"/>
          <ac:spMkLst>
            <pc:docMk/>
            <pc:sldMk cId="865606007" sldId="279"/>
            <ac:spMk id="262" creationId="{D28E5348-06A1-A268-E42D-20AB935E30F3}"/>
          </ac:spMkLst>
        </pc:spChg>
        <pc:spChg chg="add del mod">
          <ac:chgData name="Oğuz Öztekin" userId="33c0df0f-d5fe-4bda-8f43-141ad7af67e3" providerId="ADAL" clId="{48B824AD-1B2A-47A8-8D92-6FE6E622A650}" dt="2024-12-16T09:18:47.430" v="21856"/>
          <ac:spMkLst>
            <pc:docMk/>
            <pc:sldMk cId="865606007" sldId="279"/>
            <ac:spMk id="263" creationId="{7BBFAFE4-951A-80ED-D430-D1CE00444530}"/>
          </ac:spMkLst>
        </pc:spChg>
        <pc:spChg chg="add del mod">
          <ac:chgData name="Oğuz Öztekin" userId="33c0df0f-d5fe-4bda-8f43-141ad7af67e3" providerId="ADAL" clId="{48B824AD-1B2A-47A8-8D92-6FE6E622A650}" dt="2024-12-16T09:21:02.782" v="25856"/>
          <ac:spMkLst>
            <pc:docMk/>
            <pc:sldMk cId="865606007" sldId="279"/>
            <ac:spMk id="265" creationId="{D609B787-A8E5-F951-B717-ACD2F6AD7B4A}"/>
          </ac:spMkLst>
        </pc:spChg>
        <pc:spChg chg="add del mod">
          <ac:chgData name="Oğuz Öztekin" userId="33c0df0f-d5fe-4bda-8f43-141ad7af67e3" providerId="ADAL" clId="{48B824AD-1B2A-47A8-8D92-6FE6E622A650}" dt="2024-12-16T09:21:02.783" v="25858"/>
          <ac:spMkLst>
            <pc:docMk/>
            <pc:sldMk cId="865606007" sldId="279"/>
            <ac:spMk id="266" creationId="{3D671472-0BAD-F0B0-D1D2-73928F24799F}"/>
          </ac:spMkLst>
        </pc:spChg>
        <pc:spChg chg="add del mod modVis">
          <ac:chgData name="Oğuz Öztekin" userId="33c0df0f-d5fe-4bda-8f43-141ad7af67e3" providerId="ADAL" clId="{48B824AD-1B2A-47A8-8D92-6FE6E622A650}" dt="2024-12-16T09:18:11.061" v="19925"/>
          <ac:spMkLst>
            <pc:docMk/>
            <pc:sldMk cId="865606007" sldId="279"/>
            <ac:spMk id="267" creationId="{D63D5E16-4EDA-A165-4864-8FDBE9988EB4}"/>
          </ac:spMkLst>
        </pc:spChg>
        <pc:spChg chg="add del mod">
          <ac:chgData name="Oğuz Öztekin" userId="33c0df0f-d5fe-4bda-8f43-141ad7af67e3" providerId="ADAL" clId="{48B824AD-1B2A-47A8-8D92-6FE6E622A650}" dt="2024-12-16T09:21:02.876" v="25983"/>
          <ac:spMkLst>
            <pc:docMk/>
            <pc:sldMk cId="865606007" sldId="279"/>
            <ac:spMk id="268" creationId="{FBE4ED5D-0E05-77BA-2004-42FB4B9EA7BD}"/>
          </ac:spMkLst>
        </pc:spChg>
        <pc:spChg chg="add del mod">
          <ac:chgData name="Oğuz Öztekin" userId="33c0df0f-d5fe-4bda-8f43-141ad7af67e3" providerId="ADAL" clId="{48B824AD-1B2A-47A8-8D92-6FE6E622A650}" dt="2024-12-16T09:21:02.872" v="25968"/>
          <ac:spMkLst>
            <pc:docMk/>
            <pc:sldMk cId="865606007" sldId="279"/>
            <ac:spMk id="269" creationId="{B30F0261-9239-ED5F-A4CB-8E27C379B936}"/>
          </ac:spMkLst>
        </pc:spChg>
        <pc:spChg chg="add del mod">
          <ac:chgData name="Oğuz Öztekin" userId="33c0df0f-d5fe-4bda-8f43-141ad7af67e3" providerId="ADAL" clId="{48B824AD-1B2A-47A8-8D92-6FE6E622A650}" dt="2024-12-16T09:21:02.872" v="25970"/>
          <ac:spMkLst>
            <pc:docMk/>
            <pc:sldMk cId="865606007" sldId="279"/>
            <ac:spMk id="270" creationId="{935541BB-05E9-9782-BD98-3C428806426C}"/>
          </ac:spMkLst>
        </pc:spChg>
        <pc:spChg chg="add del mod">
          <ac:chgData name="Oğuz Öztekin" userId="33c0df0f-d5fe-4bda-8f43-141ad7af67e3" providerId="ADAL" clId="{48B824AD-1B2A-47A8-8D92-6FE6E622A650}" dt="2024-12-16T09:21:02.872" v="25971"/>
          <ac:spMkLst>
            <pc:docMk/>
            <pc:sldMk cId="865606007" sldId="279"/>
            <ac:spMk id="271" creationId="{E7B10EEB-7F37-4017-5F1F-BBF1BAEE4C3C}"/>
          </ac:spMkLst>
        </pc:spChg>
        <pc:spChg chg="add del mod">
          <ac:chgData name="Oğuz Öztekin" userId="33c0df0f-d5fe-4bda-8f43-141ad7af67e3" providerId="ADAL" clId="{48B824AD-1B2A-47A8-8D92-6FE6E622A650}" dt="2024-12-16T09:21:02.873" v="25973"/>
          <ac:spMkLst>
            <pc:docMk/>
            <pc:sldMk cId="865606007" sldId="279"/>
            <ac:spMk id="272" creationId="{9A761D58-F679-88F9-8494-38B59BF5FAAA}"/>
          </ac:spMkLst>
        </pc:spChg>
        <pc:spChg chg="add del mod">
          <ac:chgData name="Oğuz Öztekin" userId="33c0df0f-d5fe-4bda-8f43-141ad7af67e3" providerId="ADAL" clId="{48B824AD-1B2A-47A8-8D92-6FE6E622A650}" dt="2024-12-16T09:21:02.873" v="25974"/>
          <ac:spMkLst>
            <pc:docMk/>
            <pc:sldMk cId="865606007" sldId="279"/>
            <ac:spMk id="273" creationId="{31631A2C-A0A9-C0B7-13CC-8629F57D0AFD}"/>
          </ac:spMkLst>
        </pc:spChg>
        <pc:spChg chg="add del mod">
          <ac:chgData name="Oğuz Öztekin" userId="33c0df0f-d5fe-4bda-8f43-141ad7af67e3" providerId="ADAL" clId="{48B824AD-1B2A-47A8-8D92-6FE6E622A650}" dt="2024-12-16T09:21:02.874" v="25976"/>
          <ac:spMkLst>
            <pc:docMk/>
            <pc:sldMk cId="865606007" sldId="279"/>
            <ac:spMk id="274" creationId="{A7632757-36BE-6160-CC64-3FA634A443A7}"/>
          </ac:spMkLst>
        </pc:spChg>
        <pc:spChg chg="add del mod">
          <ac:chgData name="Oğuz Öztekin" userId="33c0df0f-d5fe-4bda-8f43-141ad7af67e3" providerId="ADAL" clId="{48B824AD-1B2A-47A8-8D92-6FE6E622A650}" dt="2024-12-16T09:21:02.874" v="25977"/>
          <ac:spMkLst>
            <pc:docMk/>
            <pc:sldMk cId="865606007" sldId="279"/>
            <ac:spMk id="275" creationId="{E6A566E6-11B1-CB1C-30C7-09F2C26943BE}"/>
          </ac:spMkLst>
        </pc:spChg>
        <pc:spChg chg="add del mod">
          <ac:chgData name="Oğuz Öztekin" userId="33c0df0f-d5fe-4bda-8f43-141ad7af67e3" providerId="ADAL" clId="{48B824AD-1B2A-47A8-8D92-6FE6E622A650}" dt="2024-12-16T09:21:02.874" v="25979"/>
          <ac:spMkLst>
            <pc:docMk/>
            <pc:sldMk cId="865606007" sldId="279"/>
            <ac:spMk id="276" creationId="{501973E8-D1D2-4CAB-5800-54959F54006D}"/>
          </ac:spMkLst>
        </pc:spChg>
        <pc:spChg chg="add del mod">
          <ac:chgData name="Oğuz Öztekin" userId="33c0df0f-d5fe-4bda-8f43-141ad7af67e3" providerId="ADAL" clId="{48B824AD-1B2A-47A8-8D92-6FE6E622A650}" dt="2024-12-16T09:21:02.875" v="25980"/>
          <ac:spMkLst>
            <pc:docMk/>
            <pc:sldMk cId="865606007" sldId="279"/>
            <ac:spMk id="277" creationId="{209FDB8B-3262-7872-8CB4-20F4F0991273}"/>
          </ac:spMkLst>
        </pc:spChg>
        <pc:spChg chg="add del mod">
          <ac:chgData name="Oğuz Öztekin" userId="33c0df0f-d5fe-4bda-8f43-141ad7af67e3" providerId="ADAL" clId="{48B824AD-1B2A-47A8-8D92-6FE6E622A650}" dt="2024-12-16T09:21:02.875" v="25982"/>
          <ac:spMkLst>
            <pc:docMk/>
            <pc:sldMk cId="865606007" sldId="279"/>
            <ac:spMk id="278" creationId="{1707EC08-CE4E-371D-6359-3E30AAEB5A51}"/>
          </ac:spMkLst>
        </pc:spChg>
        <pc:spChg chg="add del mod">
          <ac:chgData name="Oğuz Öztekin" userId="33c0df0f-d5fe-4bda-8f43-141ad7af67e3" providerId="ADAL" clId="{48B824AD-1B2A-47A8-8D92-6FE6E622A650}" dt="2024-12-16T09:21:02.880" v="25999"/>
          <ac:spMkLst>
            <pc:docMk/>
            <pc:sldMk cId="865606007" sldId="279"/>
            <ac:spMk id="279" creationId="{199A404E-7DB9-753B-FEA1-68DFCCD7D240}"/>
          </ac:spMkLst>
        </pc:spChg>
        <pc:spChg chg="add del mod">
          <ac:chgData name="Oğuz Öztekin" userId="33c0df0f-d5fe-4bda-8f43-141ad7af67e3" providerId="ADAL" clId="{48B824AD-1B2A-47A8-8D92-6FE6E622A650}" dt="2024-12-16T09:21:02.876" v="25985"/>
          <ac:spMkLst>
            <pc:docMk/>
            <pc:sldMk cId="865606007" sldId="279"/>
            <ac:spMk id="280" creationId="{AFF845FA-EF97-70C5-0296-71501CE00308}"/>
          </ac:spMkLst>
        </pc:spChg>
        <pc:spChg chg="add del mod">
          <ac:chgData name="Oğuz Öztekin" userId="33c0df0f-d5fe-4bda-8f43-141ad7af67e3" providerId="ADAL" clId="{48B824AD-1B2A-47A8-8D92-6FE6E622A650}" dt="2024-12-16T09:21:02.876" v="25986"/>
          <ac:spMkLst>
            <pc:docMk/>
            <pc:sldMk cId="865606007" sldId="279"/>
            <ac:spMk id="281" creationId="{561910B6-E590-EBD4-5638-F78BB476EF5F}"/>
          </ac:spMkLst>
        </pc:spChg>
        <pc:spChg chg="add del mod">
          <ac:chgData name="Oğuz Öztekin" userId="33c0df0f-d5fe-4bda-8f43-141ad7af67e3" providerId="ADAL" clId="{48B824AD-1B2A-47A8-8D92-6FE6E622A650}" dt="2024-12-16T09:21:02.877" v="25988"/>
          <ac:spMkLst>
            <pc:docMk/>
            <pc:sldMk cId="865606007" sldId="279"/>
            <ac:spMk id="282" creationId="{CBDDD2CD-B828-CC72-1462-C3023BBE7043}"/>
          </ac:spMkLst>
        </pc:spChg>
        <pc:spChg chg="add del mod">
          <ac:chgData name="Oğuz Öztekin" userId="33c0df0f-d5fe-4bda-8f43-141ad7af67e3" providerId="ADAL" clId="{48B824AD-1B2A-47A8-8D92-6FE6E622A650}" dt="2024-12-16T09:21:02.877" v="25989"/>
          <ac:spMkLst>
            <pc:docMk/>
            <pc:sldMk cId="865606007" sldId="279"/>
            <ac:spMk id="283" creationId="{169A6DC9-6AD6-5504-B4AD-2A062D56FC19}"/>
          </ac:spMkLst>
        </pc:spChg>
        <pc:spChg chg="add del mod">
          <ac:chgData name="Oğuz Öztekin" userId="33c0df0f-d5fe-4bda-8f43-141ad7af67e3" providerId="ADAL" clId="{48B824AD-1B2A-47A8-8D92-6FE6E622A650}" dt="2024-12-16T09:21:02.877" v="25991"/>
          <ac:spMkLst>
            <pc:docMk/>
            <pc:sldMk cId="865606007" sldId="279"/>
            <ac:spMk id="284" creationId="{633A9120-A936-C358-A7F3-897FE625A055}"/>
          </ac:spMkLst>
        </pc:spChg>
        <pc:spChg chg="add del mod">
          <ac:chgData name="Oğuz Öztekin" userId="33c0df0f-d5fe-4bda-8f43-141ad7af67e3" providerId="ADAL" clId="{48B824AD-1B2A-47A8-8D92-6FE6E622A650}" dt="2024-12-16T09:21:02.878" v="25992"/>
          <ac:spMkLst>
            <pc:docMk/>
            <pc:sldMk cId="865606007" sldId="279"/>
            <ac:spMk id="285" creationId="{AD7D3068-AB11-3035-7987-FC9E20FC3289}"/>
          </ac:spMkLst>
        </pc:spChg>
        <pc:spChg chg="add del mod">
          <ac:chgData name="Oğuz Öztekin" userId="33c0df0f-d5fe-4bda-8f43-141ad7af67e3" providerId="ADAL" clId="{48B824AD-1B2A-47A8-8D92-6FE6E622A650}" dt="2024-12-16T09:21:02.878" v="25994"/>
          <ac:spMkLst>
            <pc:docMk/>
            <pc:sldMk cId="865606007" sldId="279"/>
            <ac:spMk id="286" creationId="{44F948F9-4B3E-A178-B651-47E82D5CF58A}"/>
          </ac:spMkLst>
        </pc:spChg>
        <pc:spChg chg="add del mod">
          <ac:chgData name="Oğuz Öztekin" userId="33c0df0f-d5fe-4bda-8f43-141ad7af67e3" providerId="ADAL" clId="{48B824AD-1B2A-47A8-8D92-6FE6E622A650}" dt="2024-12-16T09:21:02.878" v="25995"/>
          <ac:spMkLst>
            <pc:docMk/>
            <pc:sldMk cId="865606007" sldId="279"/>
            <ac:spMk id="287" creationId="{2C852723-8FB9-A408-4818-683E6E043F20}"/>
          </ac:spMkLst>
        </pc:spChg>
        <pc:spChg chg="add del mod modVis">
          <ac:chgData name="Oğuz Öztekin" userId="33c0df0f-d5fe-4bda-8f43-141ad7af67e3" providerId="ADAL" clId="{48B824AD-1B2A-47A8-8D92-6FE6E622A650}" dt="2024-12-16T09:18:30.510" v="20061"/>
          <ac:spMkLst>
            <pc:docMk/>
            <pc:sldMk cId="865606007" sldId="279"/>
            <ac:spMk id="289" creationId="{2F11B46C-3835-17F5-E0F2-B23AC790DAEA}"/>
          </ac:spMkLst>
        </pc:spChg>
        <pc:spChg chg="add del mod modVis">
          <ac:chgData name="Oğuz Öztekin" userId="33c0df0f-d5fe-4bda-8f43-141ad7af67e3" providerId="ADAL" clId="{48B824AD-1B2A-47A8-8D92-6FE6E622A650}" dt="2024-12-16T09:18:32.486" v="20200"/>
          <ac:spMkLst>
            <pc:docMk/>
            <pc:sldMk cId="865606007" sldId="279"/>
            <ac:spMk id="291" creationId="{D55E4DAB-9204-70D2-9691-05A217A7DC7A}"/>
          </ac:spMkLst>
        </pc:spChg>
        <pc:spChg chg="add del mod modVis">
          <ac:chgData name="Oğuz Öztekin" userId="33c0df0f-d5fe-4bda-8f43-141ad7af67e3" providerId="ADAL" clId="{48B824AD-1B2A-47A8-8D92-6FE6E622A650}" dt="2024-12-16T09:18:33.375" v="20336"/>
          <ac:spMkLst>
            <pc:docMk/>
            <pc:sldMk cId="865606007" sldId="279"/>
            <ac:spMk id="293" creationId="{F7A90ACF-6439-A207-C3ED-D0D3C982244D}"/>
          </ac:spMkLst>
        </pc:spChg>
        <pc:spChg chg="add del mod modVis">
          <ac:chgData name="Oğuz Öztekin" userId="33c0df0f-d5fe-4bda-8f43-141ad7af67e3" providerId="ADAL" clId="{48B824AD-1B2A-47A8-8D92-6FE6E622A650}" dt="2024-12-16T09:18:34.757" v="20470"/>
          <ac:spMkLst>
            <pc:docMk/>
            <pc:sldMk cId="865606007" sldId="279"/>
            <ac:spMk id="295" creationId="{8BBDE2D4-1334-A77E-E870-86135051B27B}"/>
          </ac:spMkLst>
        </pc:spChg>
        <pc:spChg chg="add del mod modVis">
          <ac:chgData name="Oğuz Öztekin" userId="33c0df0f-d5fe-4bda-8f43-141ad7af67e3" providerId="ADAL" clId="{48B824AD-1B2A-47A8-8D92-6FE6E622A650}" dt="2024-12-16T09:18:35.637" v="20607"/>
          <ac:spMkLst>
            <pc:docMk/>
            <pc:sldMk cId="865606007" sldId="279"/>
            <ac:spMk id="297" creationId="{D3F59F2A-0C51-6BF8-EE8D-0F967B2BB9AA}"/>
          </ac:spMkLst>
        </pc:spChg>
        <pc:spChg chg="add del mod modVis">
          <ac:chgData name="Oğuz Öztekin" userId="33c0df0f-d5fe-4bda-8f43-141ad7af67e3" providerId="ADAL" clId="{48B824AD-1B2A-47A8-8D92-6FE6E622A650}" dt="2024-12-16T09:18:38.186" v="20741"/>
          <ac:spMkLst>
            <pc:docMk/>
            <pc:sldMk cId="865606007" sldId="279"/>
            <ac:spMk id="299" creationId="{240FE398-AF93-5F8C-3593-B0080D76D758}"/>
          </ac:spMkLst>
        </pc:spChg>
        <pc:spChg chg="add del mod modVis">
          <ac:chgData name="Oğuz Öztekin" userId="33c0df0f-d5fe-4bda-8f43-141ad7af67e3" providerId="ADAL" clId="{48B824AD-1B2A-47A8-8D92-6FE6E622A650}" dt="2024-12-16T09:18:39.089" v="20876"/>
          <ac:spMkLst>
            <pc:docMk/>
            <pc:sldMk cId="865606007" sldId="279"/>
            <ac:spMk id="301" creationId="{EE2984E0-FAE8-A753-4F24-8F1ED476F68F}"/>
          </ac:spMkLst>
        </pc:spChg>
        <pc:spChg chg="add del mod modVis">
          <ac:chgData name="Oğuz Öztekin" userId="33c0df0f-d5fe-4bda-8f43-141ad7af67e3" providerId="ADAL" clId="{48B824AD-1B2A-47A8-8D92-6FE6E622A650}" dt="2024-12-16T09:18:39.962" v="21008"/>
          <ac:spMkLst>
            <pc:docMk/>
            <pc:sldMk cId="865606007" sldId="279"/>
            <ac:spMk id="303" creationId="{84B9EB2E-76DD-9EFF-6406-2198AF63DECA}"/>
          </ac:spMkLst>
        </pc:spChg>
        <pc:spChg chg="add del mod modVis">
          <ac:chgData name="Oğuz Öztekin" userId="33c0df0f-d5fe-4bda-8f43-141ad7af67e3" providerId="ADAL" clId="{48B824AD-1B2A-47A8-8D92-6FE6E622A650}" dt="2024-12-16T09:18:40.900" v="21141"/>
          <ac:spMkLst>
            <pc:docMk/>
            <pc:sldMk cId="865606007" sldId="279"/>
            <ac:spMk id="305" creationId="{BC0C5A56-BE34-256A-B0C7-63AAC4324797}"/>
          </ac:spMkLst>
        </pc:spChg>
        <pc:spChg chg="add del mod modVis">
          <ac:chgData name="Oğuz Öztekin" userId="33c0df0f-d5fe-4bda-8f43-141ad7af67e3" providerId="ADAL" clId="{48B824AD-1B2A-47A8-8D92-6FE6E622A650}" dt="2024-12-16T09:18:42.179" v="21274"/>
          <ac:spMkLst>
            <pc:docMk/>
            <pc:sldMk cId="865606007" sldId="279"/>
            <ac:spMk id="307" creationId="{6DEDDF43-5F44-2B0E-4B2D-6826065C5E26}"/>
          </ac:spMkLst>
        </pc:spChg>
        <pc:spChg chg="add del mod modVis">
          <ac:chgData name="Oğuz Öztekin" userId="33c0df0f-d5fe-4bda-8f43-141ad7af67e3" providerId="ADAL" clId="{48B824AD-1B2A-47A8-8D92-6FE6E622A650}" dt="2024-12-16T09:18:43.385" v="21405"/>
          <ac:spMkLst>
            <pc:docMk/>
            <pc:sldMk cId="865606007" sldId="279"/>
            <ac:spMk id="309" creationId="{BB512A38-EF1E-8C36-E66C-46CF3D52363F}"/>
          </ac:spMkLst>
        </pc:spChg>
        <pc:spChg chg="add del mod modVis">
          <ac:chgData name="Oğuz Öztekin" userId="33c0df0f-d5fe-4bda-8f43-141ad7af67e3" providerId="ADAL" clId="{48B824AD-1B2A-47A8-8D92-6FE6E622A650}" dt="2024-12-16T09:18:44.320" v="21534"/>
          <ac:spMkLst>
            <pc:docMk/>
            <pc:sldMk cId="865606007" sldId="279"/>
            <ac:spMk id="311" creationId="{2F899AA9-863B-1E91-B549-2D9640E117F6}"/>
          </ac:spMkLst>
        </pc:spChg>
        <pc:spChg chg="add del mod modVis">
          <ac:chgData name="Oğuz Öztekin" userId="33c0df0f-d5fe-4bda-8f43-141ad7af67e3" providerId="ADAL" clId="{48B824AD-1B2A-47A8-8D92-6FE6E622A650}" dt="2024-12-16T09:18:44.971" v="21658"/>
          <ac:spMkLst>
            <pc:docMk/>
            <pc:sldMk cId="865606007" sldId="279"/>
            <ac:spMk id="313" creationId="{782A531E-AEC6-C3F0-8E68-A5D72AD4D564}"/>
          </ac:spMkLst>
        </pc:spChg>
        <pc:spChg chg="add del mod modVis">
          <ac:chgData name="Oğuz Öztekin" userId="33c0df0f-d5fe-4bda-8f43-141ad7af67e3" providerId="ADAL" clId="{48B824AD-1B2A-47A8-8D92-6FE6E622A650}" dt="2024-12-16T09:18:46.629" v="21783"/>
          <ac:spMkLst>
            <pc:docMk/>
            <pc:sldMk cId="865606007" sldId="279"/>
            <ac:spMk id="315" creationId="{4DB6A117-3FF4-4673-2B5D-58D08B2A153F}"/>
          </ac:spMkLst>
        </pc:spChg>
        <pc:spChg chg="add del mod modVis">
          <ac:chgData name="Oğuz Öztekin" userId="33c0df0f-d5fe-4bda-8f43-141ad7af67e3" providerId="ADAL" clId="{48B824AD-1B2A-47A8-8D92-6FE6E622A650}" dt="2024-12-16T09:18:47.462" v="21905"/>
          <ac:spMkLst>
            <pc:docMk/>
            <pc:sldMk cId="865606007" sldId="279"/>
            <ac:spMk id="317" creationId="{386A9D16-E1F1-FC61-17C9-ECBFEE0AE74B}"/>
          </ac:spMkLst>
        </pc:spChg>
        <pc:spChg chg="add del mod modVis">
          <ac:chgData name="Oğuz Öztekin" userId="33c0df0f-d5fe-4bda-8f43-141ad7af67e3" providerId="ADAL" clId="{48B824AD-1B2A-47A8-8D92-6FE6E622A650}" dt="2024-12-16T09:18:49.220" v="22029"/>
          <ac:spMkLst>
            <pc:docMk/>
            <pc:sldMk cId="865606007" sldId="279"/>
            <ac:spMk id="319" creationId="{E0251243-3946-7F78-3CF6-F6EFCE089C53}"/>
          </ac:spMkLst>
        </pc:spChg>
        <pc:spChg chg="add del mod modVis">
          <ac:chgData name="Oğuz Öztekin" userId="33c0df0f-d5fe-4bda-8f43-141ad7af67e3" providerId="ADAL" clId="{48B824AD-1B2A-47A8-8D92-6FE6E622A650}" dt="2024-12-16T09:18:50.483" v="22147"/>
          <ac:spMkLst>
            <pc:docMk/>
            <pc:sldMk cId="865606007" sldId="279"/>
            <ac:spMk id="321" creationId="{2B55FBF5-0EEB-B3FE-5E3D-A9633818BC1D}"/>
          </ac:spMkLst>
        </pc:spChg>
        <pc:spChg chg="add del mod modVis">
          <ac:chgData name="Oğuz Öztekin" userId="33c0df0f-d5fe-4bda-8f43-141ad7af67e3" providerId="ADAL" clId="{48B824AD-1B2A-47A8-8D92-6FE6E622A650}" dt="2024-12-16T09:20:22.070" v="24867"/>
          <ac:spMkLst>
            <pc:docMk/>
            <pc:sldMk cId="865606007" sldId="279"/>
            <ac:spMk id="323" creationId="{85442CD1-808D-CF36-CECD-6245F7134D45}"/>
          </ac:spMkLst>
        </pc:spChg>
        <pc:spChg chg="add del mod modVis">
          <ac:chgData name="Oğuz Öztekin" userId="33c0df0f-d5fe-4bda-8f43-141ad7af67e3" providerId="ADAL" clId="{48B824AD-1B2A-47A8-8D92-6FE6E622A650}" dt="2024-12-16T09:20:21.443" v="24831"/>
          <ac:spMkLst>
            <pc:docMk/>
            <pc:sldMk cId="865606007" sldId="279"/>
            <ac:spMk id="325" creationId="{A5CF2C2C-757E-86BE-41CA-3711D779363A}"/>
          </ac:spMkLst>
        </pc:spChg>
        <pc:spChg chg="add del mod modVis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7" creationId="{52EBB284-9510-548C-E43C-33A7ABF4C2B5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8" creationId="{27416712-5C1C-E0A3-C3E0-55A9A2AF89D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9" creationId="{EC1410E7-54F3-A3A5-CCA7-C834480820E2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0" creationId="{A44449D6-45B1-3D81-AB2D-DA7CF67C0FF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1" creationId="{3631320D-5653-B487-A0DC-B0DD6F2FD194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2" creationId="{A3C79B52-403A-0AF6-2B92-D28FC1FA5481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3" creationId="{CFC458A1-021C-EEDD-F100-478D7A87254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4" creationId="{D663A7A8-280F-FB1C-6AAB-68BFD87B37D6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5" creationId="{29897222-FED7-7FDB-C42D-5ADFA98D868E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6" creationId="{C8450166-624F-CD3C-462E-332105C0B6E8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7" creationId="{B152032D-8E1B-92F1-D82C-F224154688F0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8" creationId="{40E8DCBE-7F21-24AC-119D-35CBF660E1B3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9" creationId="{3AEC1248-EAB3-D424-05ED-A71D602BD87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0" creationId="{1313D626-2680-EE02-226A-04D50005106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1" creationId="{5F714972-F87D-37B9-69D9-B9401A006DF5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2" creationId="{AB614AE2-C476-4D72-65FB-2FB55A3CA9D0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3" creationId="{AE4F4A17-30F4-EBE7-10AB-4C8C29D25F89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4" creationId="{97AF392B-C2DC-2B05-8266-41B6FF17E3DD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5" creationId="{7318B64D-74FC-D8C2-EADF-AFA18F9D268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6" creationId="{1538A5D0-07DF-08CC-21FE-4A7AE9D26E94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7" creationId="{13483A34-5B08-2C74-12DD-FDABA66051EC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8" creationId="{B53A3778-6B0D-3231-A423-94647500619B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9" creationId="{98ED3CD4-CAF4-89E8-DA74-BE811D6FE4D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0" creationId="{B5695A8E-BA06-049F-F9AF-B1EBE9010267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1" creationId="{F30ED769-19BA-4895-FE71-7F01201FE106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2" creationId="{1B107CD2-5623-CDBD-16A8-5B5B8CCE2F4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3" creationId="{92398DD5-AC3C-3A57-8C2B-C6791FABF054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4" creationId="{BFFBF59A-9326-BEA9-E2F3-BBB718B9111B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5" creationId="{23C0643D-8100-C2FE-8DA8-7B64ABB5714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6" creationId="{E0321EA6-875A-8A2D-FDED-FE4B5881B52F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7" creationId="{3AC23148-906E-2403-B001-F594BC0B2C07}"/>
          </ac:spMkLst>
        </pc:spChg>
        <pc:spChg chg="add del mod modVis">
          <ac:chgData name="Oğuz Öztekin" userId="33c0df0f-d5fe-4bda-8f43-141ad7af67e3" providerId="ADAL" clId="{48B824AD-1B2A-47A8-8D92-6FE6E622A650}" dt="2024-12-16T09:20:29.643" v="25327"/>
          <ac:spMkLst>
            <pc:docMk/>
            <pc:sldMk cId="865606007" sldId="279"/>
            <ac:spMk id="359" creationId="{0B970FB6-F9DB-7AA8-B9C4-C7701CD6B817}"/>
          </ac:spMkLst>
        </pc:spChg>
        <pc:spChg chg="add del mod modVis">
          <ac:chgData name="Oğuz Öztekin" userId="33c0df0f-d5fe-4bda-8f43-141ad7af67e3" providerId="ADAL" clId="{48B824AD-1B2A-47A8-8D92-6FE6E622A650}" dt="2024-12-16T09:20:35.527" v="25737"/>
          <ac:spMkLst>
            <pc:docMk/>
            <pc:sldMk cId="865606007" sldId="279"/>
            <ac:spMk id="361" creationId="{B9C36206-5BA5-551A-DB62-B0297BD41422}"/>
          </ac:spMkLst>
        </pc:spChg>
        <pc:spChg chg="add del mod modVis">
          <ac:chgData name="Oğuz Öztekin" userId="33c0df0f-d5fe-4bda-8f43-141ad7af67e3" providerId="ADAL" clId="{48B824AD-1B2A-47A8-8D92-6FE6E622A650}" dt="2024-12-16T09:20:37.526" v="25853"/>
          <ac:spMkLst>
            <pc:docMk/>
            <pc:sldMk cId="865606007" sldId="279"/>
            <ac:spMk id="363" creationId="{02A1EDC8-C2A3-84E0-B28D-D13BDDC4425C}"/>
          </ac:spMkLst>
        </pc:spChg>
        <pc:spChg chg="add del mod modVis">
          <ac:chgData name="Oğuz Öztekin" userId="33c0df0f-d5fe-4bda-8f43-141ad7af67e3" providerId="ADAL" clId="{48B824AD-1B2A-47A8-8D92-6FE6E622A650}" dt="2024-12-16T09:21:02.880" v="26001"/>
          <ac:spMkLst>
            <pc:docMk/>
            <pc:sldMk cId="865606007" sldId="279"/>
            <ac:spMk id="365" creationId="{D249C34E-F6BA-ED1E-12F7-20572D543436}"/>
          </ac:spMkLst>
        </pc:spChg>
        <pc:graphicFrameChg chg="mod">
          <ac:chgData name="Oğuz Öztekin" userId="33c0df0f-d5fe-4bda-8f43-141ad7af67e3" providerId="ADAL" clId="{48B824AD-1B2A-47A8-8D92-6FE6E622A650}" dt="2024-12-16T09:21:02.881" v="26003"/>
          <ac:graphicFrameMkLst>
            <pc:docMk/>
            <pc:sldMk cId="865606007" sldId="279"/>
            <ac:graphicFrameMk id="3" creationId="{9DF14670-A328-00A1-9CE6-CE088B94F64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8:47.075" v="1339"/>
          <ac:graphicFrameMkLst>
            <pc:docMk/>
            <pc:sldMk cId="865606007" sldId="279"/>
            <ac:graphicFrameMk id="41" creationId="{ADDB7B34-ED1E-039F-9038-8F637884419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8:56.832" v="2796"/>
          <ac:graphicFrameMkLst>
            <pc:docMk/>
            <pc:sldMk cId="865606007" sldId="279"/>
            <ac:graphicFrameMk id="70" creationId="{580B1CD4-E7BA-955F-FE33-FEA58481756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06.435" v="3342"/>
          <ac:graphicFrameMkLst>
            <pc:docMk/>
            <pc:sldMk cId="865606007" sldId="279"/>
            <ac:graphicFrameMk id="127" creationId="{27B96CF4-22B9-E3F9-357C-5A88261EE28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18.125" v="3653"/>
          <ac:graphicFrameMkLst>
            <pc:docMk/>
            <pc:sldMk cId="865606007" sldId="279"/>
            <ac:graphicFrameMk id="129" creationId="{F1D48B7D-1AEE-19DD-15C6-5BB025A053E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37.241" v="3780"/>
          <ac:graphicFrameMkLst>
            <pc:docMk/>
            <pc:sldMk cId="865606007" sldId="279"/>
            <ac:graphicFrameMk id="131" creationId="{FD7B19E2-E18F-038F-7E6E-20D4EFF6653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45.090" v="4125"/>
          <ac:graphicFrameMkLst>
            <pc:docMk/>
            <pc:sldMk cId="865606007" sldId="279"/>
            <ac:graphicFrameMk id="133" creationId="{58A05A74-E7CB-8693-4959-B34CBF0C2ED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57.039" v="4659"/>
          <ac:graphicFrameMkLst>
            <pc:docMk/>
            <pc:sldMk cId="865606007" sldId="279"/>
            <ac:graphicFrameMk id="143" creationId="{D4F7DCE9-5FF1-631D-FDC9-073F351620F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09.722" v="5116"/>
          <ac:graphicFrameMkLst>
            <pc:docMk/>
            <pc:sldMk cId="865606007" sldId="279"/>
            <ac:graphicFrameMk id="166" creationId="{28C88C26-C587-C890-502C-F3281C7CD78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3.687" v="5302"/>
          <ac:graphicFrameMkLst>
            <pc:docMk/>
            <pc:sldMk cId="865606007" sldId="279"/>
            <ac:graphicFrameMk id="182" creationId="{FC43BD86-56A2-6035-7829-F7C91E0B873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5.578" v="5520"/>
          <ac:graphicFrameMkLst>
            <pc:docMk/>
            <pc:sldMk cId="865606007" sldId="279"/>
            <ac:graphicFrameMk id="184" creationId="{33F7F439-8C76-BE8A-DE22-038B6E63AD7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8.032" v="5741"/>
          <ac:graphicFrameMkLst>
            <pc:docMk/>
            <pc:sldMk cId="865606007" sldId="279"/>
            <ac:graphicFrameMk id="186" creationId="{68EC66B5-347B-E463-1A7D-7DE85602B5A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0.168" v="5866"/>
          <ac:graphicFrameMkLst>
            <pc:docMk/>
            <pc:sldMk cId="865606007" sldId="279"/>
            <ac:graphicFrameMk id="188" creationId="{5A3FCAEB-DA65-9314-0426-7CFE8CDC972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7.425" v="6255"/>
          <ac:graphicFrameMkLst>
            <pc:docMk/>
            <pc:sldMk cId="865606007" sldId="279"/>
            <ac:graphicFrameMk id="190" creationId="{0345CEC3-2CC7-1510-E7CF-9A4E35DA581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9.249" v="6890"/>
          <ac:graphicFrameMkLst>
            <pc:docMk/>
            <pc:sldMk cId="865606007" sldId="279"/>
            <ac:graphicFrameMk id="210" creationId="{DE7E8E97-B6DB-2BEA-0AAB-8034786FABC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30.258" v="7309"/>
          <ac:graphicFrameMkLst>
            <pc:docMk/>
            <pc:sldMk cId="865606007" sldId="279"/>
            <ac:graphicFrameMk id="230" creationId="{BC4DB1D8-7E47-A0E7-8C24-0CAE4A9C29A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39.941" v="7728"/>
          <ac:graphicFrameMkLst>
            <pc:docMk/>
            <pc:sldMk cId="865606007" sldId="279"/>
            <ac:graphicFrameMk id="232" creationId="{CA34EB29-5B88-F1B4-A207-9B8246899E2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42.536" v="8147"/>
          <ac:graphicFrameMkLst>
            <pc:docMk/>
            <pc:sldMk cId="865606007" sldId="279"/>
            <ac:graphicFrameMk id="234" creationId="{9D255551-3C0E-188E-4D3F-C3CD9FBD76D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48.534" v="8566"/>
          <ac:graphicFrameMkLst>
            <pc:docMk/>
            <pc:sldMk cId="865606007" sldId="279"/>
            <ac:graphicFrameMk id="236" creationId="{5AB8EF0E-CD5F-B231-8DB8-A252FA56DA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52.143" v="9017"/>
          <ac:graphicFrameMkLst>
            <pc:docMk/>
            <pc:sldMk cId="865606007" sldId="279"/>
            <ac:graphicFrameMk id="238" creationId="{E2DE75A4-09EF-C615-9B0B-96329916E87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0.058" v="9168"/>
          <ac:graphicFrameMkLst>
            <pc:docMk/>
            <pc:sldMk cId="865606007" sldId="279"/>
            <ac:graphicFrameMk id="240" creationId="{E06730AD-E05B-F694-DCDC-FFD195EEB10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2.156" v="9277"/>
          <ac:graphicFrameMkLst>
            <pc:docMk/>
            <pc:sldMk cId="865606007" sldId="279"/>
            <ac:graphicFrameMk id="242" creationId="{BB2B9723-EA43-9E6E-A97C-2283A406453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4.846" v="9406"/>
          <ac:graphicFrameMkLst>
            <pc:docMk/>
            <pc:sldMk cId="865606007" sldId="279"/>
            <ac:graphicFrameMk id="244" creationId="{3A82EF2F-49B4-5A72-AE91-0EFD57F4FF9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35.894" v="9607"/>
          <ac:graphicFrameMkLst>
            <pc:docMk/>
            <pc:sldMk cId="865606007" sldId="279"/>
            <ac:graphicFrameMk id="246" creationId="{44490346-C9E5-6E05-A708-85BA35FCC2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24.822" v="17979"/>
          <ac:graphicFrameMkLst>
            <pc:docMk/>
            <pc:sldMk cId="865606007" sldId="279"/>
            <ac:graphicFrameMk id="248" creationId="{7E74477E-3031-8C4E-0F0E-E6E44D4CBD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28.557" v="18105"/>
          <ac:graphicFrameMkLst>
            <pc:docMk/>
            <pc:sldMk cId="865606007" sldId="279"/>
            <ac:graphicFrameMk id="250" creationId="{4FAA12DF-E79E-C200-448F-5A02DC27E89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36.278" v="18749"/>
          <ac:graphicFrameMkLst>
            <pc:docMk/>
            <pc:sldMk cId="865606007" sldId="279"/>
            <ac:graphicFrameMk id="252" creationId="{49FA0B53-9775-BE09-E570-936670886E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11.028" v="19866"/>
          <ac:graphicFrameMkLst>
            <pc:docMk/>
            <pc:sldMk cId="865606007" sldId="279"/>
            <ac:graphicFrameMk id="264" creationId="{ED13ED74-57E0-FADE-01A8-62221C64EA3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0.482" v="20006"/>
          <ac:graphicFrameMkLst>
            <pc:docMk/>
            <pc:sldMk cId="865606007" sldId="279"/>
            <ac:graphicFrameMk id="288" creationId="{27F3586D-3505-5A03-2714-77CF0C38DB2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2.456" v="20145"/>
          <ac:graphicFrameMkLst>
            <pc:docMk/>
            <pc:sldMk cId="865606007" sldId="279"/>
            <ac:graphicFrameMk id="290" creationId="{7914EB95-A1BD-5C7C-46A2-738E8CC145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3.347" v="20282"/>
          <ac:graphicFrameMkLst>
            <pc:docMk/>
            <pc:sldMk cId="865606007" sldId="279"/>
            <ac:graphicFrameMk id="292" creationId="{5882B0EB-A5E9-B5C1-8D8E-328C0F040F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4.729" v="20416"/>
          <ac:graphicFrameMkLst>
            <pc:docMk/>
            <pc:sldMk cId="865606007" sldId="279"/>
            <ac:graphicFrameMk id="294" creationId="{E01822D0-E4E1-B69A-794B-B32C220E89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5.609" v="20553"/>
          <ac:graphicFrameMkLst>
            <pc:docMk/>
            <pc:sldMk cId="865606007" sldId="279"/>
            <ac:graphicFrameMk id="296" creationId="{E486B506-E305-C0CE-139F-E0B8FD7D3E2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8.158" v="20688"/>
          <ac:graphicFrameMkLst>
            <pc:docMk/>
            <pc:sldMk cId="865606007" sldId="279"/>
            <ac:graphicFrameMk id="298" creationId="{D8C9955E-1346-BFB8-36A4-701059F1EF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9.062" v="20823"/>
          <ac:graphicFrameMkLst>
            <pc:docMk/>
            <pc:sldMk cId="865606007" sldId="279"/>
            <ac:graphicFrameMk id="300" creationId="{2DF768F1-6854-33B1-9EA6-73BD5CE940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9.929" v="20956"/>
          <ac:graphicFrameMkLst>
            <pc:docMk/>
            <pc:sldMk cId="865606007" sldId="279"/>
            <ac:graphicFrameMk id="302" creationId="{E52ADF8B-6F7B-C561-B30A-FD901838565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0.871" v="21089"/>
          <ac:graphicFrameMkLst>
            <pc:docMk/>
            <pc:sldMk cId="865606007" sldId="279"/>
            <ac:graphicFrameMk id="304" creationId="{F495F5C3-A11B-924C-BCFA-D1C6FE691A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2.151" v="21223"/>
          <ac:graphicFrameMkLst>
            <pc:docMk/>
            <pc:sldMk cId="865606007" sldId="279"/>
            <ac:graphicFrameMk id="306" creationId="{B5CD2ED7-BF91-123C-DB18-5177F6A1400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3.357" v="21355"/>
          <ac:graphicFrameMkLst>
            <pc:docMk/>
            <pc:sldMk cId="865606007" sldId="279"/>
            <ac:graphicFrameMk id="308" creationId="{9EB32EA5-1D38-BED8-E278-F3CE2932FE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4.293" v="21485"/>
          <ac:graphicFrameMkLst>
            <pc:docMk/>
            <pc:sldMk cId="865606007" sldId="279"/>
            <ac:graphicFrameMk id="310" creationId="{A4D9357D-A862-B140-8C18-4421A070531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4.944" v="21610"/>
          <ac:graphicFrameMkLst>
            <pc:docMk/>
            <pc:sldMk cId="865606007" sldId="279"/>
            <ac:graphicFrameMk id="312" creationId="{6D4FD5EA-29AA-7F1C-D850-65021B5C8E7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6.602" v="21735"/>
          <ac:graphicFrameMkLst>
            <pc:docMk/>
            <pc:sldMk cId="865606007" sldId="279"/>
            <ac:graphicFrameMk id="314" creationId="{F071A9D2-538C-8872-289E-F9CE37AE9E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7.436" v="21858"/>
          <ac:graphicFrameMkLst>
            <pc:docMk/>
            <pc:sldMk cId="865606007" sldId="279"/>
            <ac:graphicFrameMk id="316" creationId="{28643183-9121-FA54-B36E-3055E92E99F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9.194" v="21983"/>
          <ac:graphicFrameMkLst>
            <pc:docMk/>
            <pc:sldMk cId="865606007" sldId="279"/>
            <ac:graphicFrameMk id="318" creationId="{7662E914-7C23-D271-8133-F39D6398624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50.458" v="22102"/>
          <ac:graphicFrameMkLst>
            <pc:docMk/>
            <pc:sldMk cId="865606007" sldId="279"/>
            <ac:graphicFrameMk id="320" creationId="{6B49300A-E696-DC9B-74FE-EC8A11D9651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9.615" v="25278"/>
          <ac:graphicFrameMkLst>
            <pc:docMk/>
            <pc:sldMk cId="865606007" sldId="279"/>
            <ac:graphicFrameMk id="322" creationId="{F8A36C7A-E765-124F-E225-CB041FDE876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2.070" v="24867"/>
          <ac:graphicFrameMkLst>
            <pc:docMk/>
            <pc:sldMk cId="865606007" sldId="279"/>
            <ac:graphicFrameMk id="324" creationId="{F287F3C6-9E54-7A91-6F16-15DE16CA4F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1.443" v="24831"/>
          <ac:graphicFrameMkLst>
            <pc:docMk/>
            <pc:sldMk cId="865606007" sldId="279"/>
            <ac:graphicFrameMk id="326" creationId="{EF6299D9-AE64-A39A-6D0D-9BBA565B131F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20:20.848" v="24766"/>
          <ac:graphicFrameMkLst>
            <pc:docMk/>
            <pc:sldMk cId="865606007" sldId="279"/>
            <ac:graphicFrameMk id="358" creationId="{93A7193D-D34A-722E-1BC5-717B6F9DCF7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35.495" v="25682"/>
          <ac:graphicFrameMkLst>
            <pc:docMk/>
            <pc:sldMk cId="865606007" sldId="279"/>
            <ac:graphicFrameMk id="360" creationId="{24EF8058-8320-E1F9-1110-DA229D8C29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37.498" v="25808"/>
          <ac:graphicFrameMkLst>
            <pc:docMk/>
            <pc:sldMk cId="865606007" sldId="279"/>
            <ac:graphicFrameMk id="362" creationId="{299EEE5C-3E1F-5914-5DA7-393FB34118F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1:02.851" v="25948"/>
          <ac:graphicFrameMkLst>
            <pc:docMk/>
            <pc:sldMk cId="865606007" sldId="279"/>
            <ac:graphicFrameMk id="364" creationId="{6EF3355D-1B19-F026-9BB0-EA8E21DBC613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21:02.871" v="25967"/>
          <ac:graphicFrameMkLst>
            <pc:docMk/>
            <pc:sldMk cId="865606007" sldId="279"/>
            <ac:graphicFrameMk id="366" creationId="{3B62AD28-DB5C-3D81-373C-20355CB4D5A2}"/>
          </ac:graphicFrameMkLst>
        </pc:graphicFrame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6" creationId="{5F5D6EF1-AC3F-BEB5-AD51-1874D72B8294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6" creationId="{E05B56CD-147E-DE04-2447-B1371E640DAB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7" creationId="{BE1BCB11-8795-F49A-F5EC-57EED07D4613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8" creationId="{3B4855B5-68AA-1422-D232-ECCDD1A40955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9" creationId="{5FAC2687-76FE-723A-EF14-AB21A1925FBB}"/>
          </ac:cxnSpMkLst>
        </pc:cxnChg>
        <pc:cxnChg chg="add del mod ord">
          <ac:chgData name="Oğuz Öztekin" userId="33c0df0f-d5fe-4bda-8f43-141ad7af67e3" providerId="ADAL" clId="{48B824AD-1B2A-47A8-8D92-6FE6E622A650}" dt="2024-12-16T09:17:24.772" v="17921"/>
          <ac:cxnSpMkLst>
            <pc:docMk/>
            <pc:sldMk cId="865606007" sldId="279"/>
            <ac:cxnSpMk id="42" creationId="{62AD1A95-8A47-A603-A562-67B052D93917}"/>
          </ac:cxnSpMkLst>
        </pc:cxnChg>
        <pc:cxnChg chg="add del mod ord">
          <ac:chgData name="Oğuz Öztekin" userId="33c0df0f-d5fe-4bda-8f43-141ad7af67e3" providerId="ADAL" clId="{48B824AD-1B2A-47A8-8D92-6FE6E622A650}" dt="2024-12-16T09:09:18.108" v="3612"/>
          <ac:cxnSpMkLst>
            <pc:docMk/>
            <pc:sldMk cId="865606007" sldId="279"/>
            <ac:cxnSpMk id="68" creationId="{F0364D06-6075-865D-0A52-BA9AD0DC30FE}"/>
          </ac:cxnSpMkLst>
        </pc:cxnChg>
        <pc:cxnChg chg="add del mod ord">
          <ac:chgData name="Oğuz Öztekin" userId="33c0df0f-d5fe-4bda-8f43-141ad7af67e3" providerId="ADAL" clId="{48B824AD-1B2A-47A8-8D92-6FE6E622A650}" dt="2024-12-16T09:09:06.384" v="3223"/>
          <ac:cxnSpMkLst>
            <pc:docMk/>
            <pc:sldMk cId="865606007" sldId="279"/>
            <ac:cxnSpMk id="69" creationId="{03596789-35CD-D17F-8F92-81C8AFB18F8C}"/>
          </ac:cxnSpMkLst>
        </pc:cxnChg>
        <pc:cxnChg chg="add del mod ord">
          <ac:chgData name="Oğuz Öztekin" userId="33c0df0f-d5fe-4bda-8f43-141ad7af67e3" providerId="ADAL" clId="{48B824AD-1B2A-47A8-8D92-6FE6E622A650}" dt="2024-12-16T09:09:18.109" v="3615"/>
          <ac:cxnSpMkLst>
            <pc:docMk/>
            <pc:sldMk cId="865606007" sldId="279"/>
            <ac:cxnSpMk id="116" creationId="{8BC03CA4-76E0-DAF9-E90E-1F2F65FFB2D3}"/>
          </ac:cxnSpMkLst>
        </pc:cxnChg>
        <pc:cxnChg chg="add del mod ord">
          <ac:chgData name="Oğuz Öztekin" userId="33c0df0f-d5fe-4bda-8f43-141ad7af67e3" providerId="ADAL" clId="{48B824AD-1B2A-47A8-8D92-6FE6E622A650}" dt="2024-12-16T09:09:18.113" v="3623"/>
          <ac:cxnSpMkLst>
            <pc:docMk/>
            <pc:sldMk cId="865606007" sldId="279"/>
            <ac:cxnSpMk id="117" creationId="{61581AB7-B05A-C251-95D2-C452605FEEFA}"/>
          </ac:cxnSpMkLst>
        </pc:cxnChg>
        <pc:cxnChg chg="add del mod ord">
          <ac:chgData name="Oğuz Öztekin" userId="33c0df0f-d5fe-4bda-8f43-141ad7af67e3" providerId="ADAL" clId="{48B824AD-1B2A-47A8-8D92-6FE6E622A650}" dt="2024-12-16T09:09:06.401" v="3266"/>
          <ac:cxnSpMkLst>
            <pc:docMk/>
            <pc:sldMk cId="865606007" sldId="279"/>
            <ac:cxnSpMk id="118" creationId="{B41A8D70-A108-B59C-16AB-8ECCDCE6D928}"/>
          </ac:cxnSpMkLst>
        </pc:cxnChg>
        <pc:cxnChg chg="add del mod ord">
          <ac:chgData name="Oğuz Öztekin" userId="33c0df0f-d5fe-4bda-8f43-141ad7af67e3" providerId="ADAL" clId="{48B824AD-1B2A-47A8-8D92-6FE6E622A650}" dt="2024-12-16T09:09:06.400" v="3264"/>
          <ac:cxnSpMkLst>
            <pc:docMk/>
            <pc:sldMk cId="865606007" sldId="279"/>
            <ac:cxnSpMk id="119" creationId="{80E43831-875D-571F-AFBB-5AE6CEB2BEE8}"/>
          </ac:cxnSpMkLst>
        </pc:cxnChg>
        <pc:cxnChg chg="add del mod ord">
          <ac:chgData name="Oğuz Öztekin" userId="33c0df0f-d5fe-4bda-8f43-141ad7af67e3" providerId="ADAL" clId="{48B824AD-1B2A-47A8-8D92-6FE6E622A650}" dt="2024-12-16T09:09:18.116" v="3631"/>
          <ac:cxnSpMkLst>
            <pc:docMk/>
            <pc:sldMk cId="865606007" sldId="279"/>
            <ac:cxnSpMk id="120" creationId="{CE4138CE-9188-A8A2-EA84-21A96D2C4B24}"/>
          </ac:cxnSpMkLst>
        </pc:cxnChg>
        <pc:cxnChg chg="add del mod ord">
          <ac:chgData name="Oğuz Öztekin" userId="33c0df0f-d5fe-4bda-8f43-141ad7af67e3" providerId="ADAL" clId="{48B824AD-1B2A-47A8-8D92-6FE6E622A650}" dt="2024-12-16T09:09:06.414" v="3298"/>
          <ac:cxnSpMkLst>
            <pc:docMk/>
            <pc:sldMk cId="865606007" sldId="279"/>
            <ac:cxnSpMk id="121" creationId="{2E974BD5-27F1-BD80-D05D-6CDC9AF9B39A}"/>
          </ac:cxnSpMkLst>
        </pc:cxnChg>
        <pc:cxnChg chg="add del mod ord">
          <ac:chgData name="Oğuz Öztekin" userId="33c0df0f-d5fe-4bda-8f43-141ad7af67e3" providerId="ADAL" clId="{48B824AD-1B2A-47A8-8D92-6FE6E622A650}" dt="2024-12-16T09:09:06.414" v="3296"/>
          <ac:cxnSpMkLst>
            <pc:docMk/>
            <pc:sldMk cId="865606007" sldId="279"/>
            <ac:cxnSpMk id="122" creationId="{DE538754-A3CD-D3C8-7B6D-44CD6872AD0F}"/>
          </ac:cxnSpMkLst>
        </pc:cxnChg>
        <pc:cxnChg chg="add del mod ord">
          <ac:chgData name="Oğuz Öztekin" userId="33c0df0f-d5fe-4bda-8f43-141ad7af67e3" providerId="ADAL" clId="{48B824AD-1B2A-47A8-8D92-6FE6E622A650}" dt="2024-12-16T09:09:06.240" v="3047"/>
          <ac:cxnSpMkLst>
            <pc:docMk/>
            <pc:sldMk cId="865606007" sldId="279"/>
            <ac:cxnSpMk id="123" creationId="{EF453637-90FB-B71B-6C95-4B18BC8F959A}"/>
          </ac:cxnSpMkLst>
        </pc:cxnChg>
        <pc:cxnChg chg="add del mod ord">
          <ac:chgData name="Oğuz Öztekin" userId="33c0df0f-d5fe-4bda-8f43-141ad7af67e3" providerId="ADAL" clId="{48B824AD-1B2A-47A8-8D92-6FE6E622A650}" dt="2024-12-16T09:09:06.240" v="3049"/>
          <ac:cxnSpMkLst>
            <pc:docMk/>
            <pc:sldMk cId="865606007" sldId="279"/>
            <ac:cxnSpMk id="124" creationId="{65D4E434-57DD-7645-7DF4-253074BE43B7}"/>
          </ac:cxnSpMkLst>
        </pc:cxnChg>
        <pc:cxnChg chg="add del mod ord">
          <ac:chgData name="Oğuz Öztekin" userId="33c0df0f-d5fe-4bda-8f43-141ad7af67e3" providerId="ADAL" clId="{48B824AD-1B2A-47A8-8D92-6FE6E622A650}" dt="2024-12-16T09:09:06.241" v="3051"/>
          <ac:cxnSpMkLst>
            <pc:docMk/>
            <pc:sldMk cId="865606007" sldId="279"/>
            <ac:cxnSpMk id="125" creationId="{9AB5E33C-BF7B-C9DB-4577-4C795FA054FA}"/>
          </ac:cxnSpMkLst>
        </pc:cxnChg>
        <pc:cxnChg chg="add del mod ord">
          <ac:chgData name="Oğuz Öztekin" userId="33c0df0f-d5fe-4bda-8f43-141ad7af67e3" providerId="ADAL" clId="{48B824AD-1B2A-47A8-8D92-6FE6E622A650}" dt="2024-12-16T09:09:06.117" v="2944"/>
          <ac:cxnSpMkLst>
            <pc:docMk/>
            <pc:sldMk cId="865606007" sldId="279"/>
            <ac:cxnSpMk id="126" creationId="{8EBDB478-9CF2-B61F-7674-F0B7B00D44B7}"/>
          </ac:cxnSpMkLst>
        </pc:cxnChg>
        <pc:cxnChg chg="add del mod ord">
          <ac:chgData name="Oğuz Öztekin" userId="33c0df0f-d5fe-4bda-8f43-141ad7af67e3" providerId="ADAL" clId="{48B824AD-1B2A-47A8-8D92-6FE6E622A650}" dt="2024-12-16T09:17:36.299" v="18764"/>
          <ac:cxnSpMkLst>
            <pc:docMk/>
            <pc:sldMk cId="865606007" sldId="279"/>
            <ac:cxnSpMk id="211" creationId="{BDBDEC58-AB01-0B6A-3479-3DB570DB223C}"/>
          </ac:cxnSpMkLst>
        </pc:cxnChg>
        <pc:cxnChg chg="add del mod ord">
          <ac:chgData name="Oğuz Öztekin" userId="33c0df0f-d5fe-4bda-8f43-141ad7af67e3" providerId="ADAL" clId="{48B824AD-1B2A-47A8-8D92-6FE6E622A650}" dt="2024-12-16T09:17:36.305" v="18777"/>
          <ac:cxnSpMkLst>
            <pc:docMk/>
            <pc:sldMk cId="865606007" sldId="279"/>
            <ac:cxnSpMk id="212" creationId="{EFC89659-A03A-3FDE-DD58-BFDBF48FF485}"/>
          </ac:cxnSpMkLst>
        </pc:cxnChg>
        <pc:cxnChg chg="add del mod ord">
          <ac:chgData name="Oğuz Öztekin" userId="33c0df0f-d5fe-4bda-8f43-141ad7af67e3" providerId="ADAL" clId="{48B824AD-1B2A-47A8-8D92-6FE6E622A650}" dt="2024-12-16T09:10:52.070" v="8914"/>
          <ac:cxnSpMkLst>
            <pc:docMk/>
            <pc:sldMk cId="865606007" sldId="279"/>
            <ac:cxnSpMk id="213" creationId="{47A7952A-717E-D8A1-DE6B-8B913246C680}"/>
          </ac:cxnSpMkLst>
        </pc:cxnChg>
        <pc:cxnChg chg="add del mod ord">
          <ac:chgData name="Oğuz Öztekin" userId="33c0df0f-d5fe-4bda-8f43-141ad7af67e3" providerId="ADAL" clId="{48B824AD-1B2A-47A8-8D92-6FE6E622A650}" dt="2024-12-16T09:10:52.071" v="8917"/>
          <ac:cxnSpMkLst>
            <pc:docMk/>
            <pc:sldMk cId="865606007" sldId="279"/>
            <ac:cxnSpMk id="214" creationId="{51958CC1-3187-C6FA-4B2B-DE8629BDFE5C}"/>
          </ac:cxnSpMkLst>
        </pc:cxnChg>
        <pc:cxnChg chg="add del mod ord">
          <ac:chgData name="Oğuz Öztekin" userId="33c0df0f-d5fe-4bda-8f43-141ad7af67e3" providerId="ADAL" clId="{48B824AD-1B2A-47A8-8D92-6FE6E622A650}" dt="2024-12-16T09:10:52.073" v="8920"/>
          <ac:cxnSpMkLst>
            <pc:docMk/>
            <pc:sldMk cId="865606007" sldId="279"/>
            <ac:cxnSpMk id="215" creationId="{AB92361F-C19F-6E02-E367-00FC48C4884E}"/>
          </ac:cxnSpMkLst>
        </pc:cxnChg>
        <pc:cxnChg chg="add del mod ord">
          <ac:chgData name="Oğuz Öztekin" userId="33c0df0f-d5fe-4bda-8f43-141ad7af67e3" providerId="ADAL" clId="{48B824AD-1B2A-47A8-8D92-6FE6E622A650}" dt="2024-12-16T09:10:52.074" v="8923"/>
          <ac:cxnSpMkLst>
            <pc:docMk/>
            <pc:sldMk cId="865606007" sldId="279"/>
            <ac:cxnSpMk id="216" creationId="{DAA53769-F10B-A4FF-2920-445196930151}"/>
          </ac:cxnSpMkLst>
        </pc:cxnChg>
        <pc:cxnChg chg="add del mod ord">
          <ac:chgData name="Oğuz Öztekin" userId="33c0df0f-d5fe-4bda-8f43-141ad7af67e3" providerId="ADAL" clId="{48B824AD-1B2A-47A8-8D92-6FE6E622A650}" dt="2024-12-16T09:10:52.075" v="8926"/>
          <ac:cxnSpMkLst>
            <pc:docMk/>
            <pc:sldMk cId="865606007" sldId="279"/>
            <ac:cxnSpMk id="217" creationId="{25A3ABE2-F535-C71A-491E-6CE606FBCC48}"/>
          </ac:cxnSpMkLst>
        </pc:cxnChg>
        <pc:cxnChg chg="add del mod ord">
          <ac:chgData name="Oğuz Öztekin" userId="33c0df0f-d5fe-4bda-8f43-141ad7af67e3" providerId="ADAL" clId="{48B824AD-1B2A-47A8-8D92-6FE6E622A650}" dt="2024-12-16T09:10:52.076" v="8929"/>
          <ac:cxnSpMkLst>
            <pc:docMk/>
            <pc:sldMk cId="865606007" sldId="279"/>
            <ac:cxnSpMk id="218" creationId="{0E04C4CD-3ABA-C9FA-1577-87329FFF53B8}"/>
          </ac:cxnSpMkLst>
        </pc:cxnChg>
        <pc:cxnChg chg="add del mod ord">
          <ac:chgData name="Oğuz Öztekin" userId="33c0df0f-d5fe-4bda-8f43-141ad7af67e3" providerId="ADAL" clId="{48B824AD-1B2A-47A8-8D92-6FE6E622A650}" dt="2024-12-16T09:10:52.077" v="8932"/>
          <ac:cxnSpMkLst>
            <pc:docMk/>
            <pc:sldMk cId="865606007" sldId="279"/>
            <ac:cxnSpMk id="219" creationId="{1CD3E5E3-DE7C-5A9C-8994-8762F0ECEB66}"/>
          </ac:cxnSpMkLst>
        </pc:cxnChg>
        <pc:cxnChg chg="add del mod ord">
          <ac:chgData name="Oğuz Öztekin" userId="33c0df0f-d5fe-4bda-8f43-141ad7af67e3" providerId="ADAL" clId="{48B824AD-1B2A-47A8-8D92-6FE6E622A650}" dt="2024-12-16T09:10:52.078" v="8935"/>
          <ac:cxnSpMkLst>
            <pc:docMk/>
            <pc:sldMk cId="865606007" sldId="279"/>
            <ac:cxnSpMk id="220" creationId="{D7EB6C9A-62A5-6302-0696-E2400BE62BA7}"/>
          </ac:cxnSpMkLst>
        </pc:cxnChg>
        <pc:cxnChg chg="add del mod ord">
          <ac:chgData name="Oğuz Öztekin" userId="33c0df0f-d5fe-4bda-8f43-141ad7af67e3" providerId="ADAL" clId="{48B824AD-1B2A-47A8-8D92-6FE6E622A650}" dt="2024-12-16T09:10:52.078" v="8938"/>
          <ac:cxnSpMkLst>
            <pc:docMk/>
            <pc:sldMk cId="865606007" sldId="279"/>
            <ac:cxnSpMk id="221" creationId="{D3E3D178-C984-867D-17AA-97480B5073BA}"/>
          </ac:cxnSpMkLst>
        </pc:cxnChg>
        <pc:cxnChg chg="add del mod ord">
          <ac:chgData name="Oğuz Öztekin" userId="33c0df0f-d5fe-4bda-8f43-141ad7af67e3" providerId="ADAL" clId="{48B824AD-1B2A-47A8-8D92-6FE6E622A650}" dt="2024-12-16T09:10:52.080" v="8941"/>
          <ac:cxnSpMkLst>
            <pc:docMk/>
            <pc:sldMk cId="865606007" sldId="279"/>
            <ac:cxnSpMk id="222" creationId="{53CFC3D3-CFEF-37EE-8EFC-E790F9DF209A}"/>
          </ac:cxnSpMkLst>
        </pc:cxnChg>
        <pc:cxnChg chg="add del mod ord">
          <ac:chgData name="Oğuz Öztekin" userId="33c0df0f-d5fe-4bda-8f43-141ad7af67e3" providerId="ADAL" clId="{48B824AD-1B2A-47A8-8D92-6FE6E622A650}" dt="2024-12-16T09:10:52.081" v="8944"/>
          <ac:cxnSpMkLst>
            <pc:docMk/>
            <pc:sldMk cId="865606007" sldId="279"/>
            <ac:cxnSpMk id="223" creationId="{FDEA23A0-2046-C56A-58F5-B13BA243361B}"/>
          </ac:cxnSpMkLst>
        </pc:cxnChg>
        <pc:cxnChg chg="add del mod ord">
          <ac:chgData name="Oğuz Öztekin" userId="33c0df0f-d5fe-4bda-8f43-141ad7af67e3" providerId="ADAL" clId="{48B824AD-1B2A-47A8-8D92-6FE6E622A650}" dt="2024-12-16T09:10:52.082" v="8947"/>
          <ac:cxnSpMkLst>
            <pc:docMk/>
            <pc:sldMk cId="865606007" sldId="279"/>
            <ac:cxnSpMk id="224" creationId="{6F824FC4-ED6F-4EA6-FB70-10D6E9960F3A}"/>
          </ac:cxnSpMkLst>
        </pc:cxnChg>
        <pc:cxnChg chg="add del mod ord">
          <ac:chgData name="Oğuz Öztekin" userId="33c0df0f-d5fe-4bda-8f43-141ad7af67e3" providerId="ADAL" clId="{48B824AD-1B2A-47A8-8D92-6FE6E622A650}" dt="2024-12-16T09:10:52.082" v="8950"/>
          <ac:cxnSpMkLst>
            <pc:docMk/>
            <pc:sldMk cId="865606007" sldId="279"/>
            <ac:cxnSpMk id="225" creationId="{27C2DBC4-683C-E312-4A02-D9222F000B08}"/>
          </ac:cxnSpMkLst>
        </pc:cxnChg>
        <pc:cxnChg chg="add del mod ord">
          <ac:chgData name="Oğuz Öztekin" userId="33c0df0f-d5fe-4bda-8f43-141ad7af67e3" providerId="ADAL" clId="{48B824AD-1B2A-47A8-8D92-6FE6E622A650}" dt="2024-12-16T09:10:52.083" v="8953"/>
          <ac:cxnSpMkLst>
            <pc:docMk/>
            <pc:sldMk cId="865606007" sldId="279"/>
            <ac:cxnSpMk id="226" creationId="{27DAD98B-DC03-EFF4-A3E3-F9F810ABFF47}"/>
          </ac:cxnSpMkLst>
        </pc:cxnChg>
        <pc:cxnChg chg="add del mod ord">
          <ac:chgData name="Oğuz Öztekin" userId="33c0df0f-d5fe-4bda-8f43-141ad7af67e3" providerId="ADAL" clId="{48B824AD-1B2A-47A8-8D92-6FE6E622A650}" dt="2024-12-16T09:10:52.084" v="8956"/>
          <ac:cxnSpMkLst>
            <pc:docMk/>
            <pc:sldMk cId="865606007" sldId="279"/>
            <ac:cxnSpMk id="227" creationId="{F6D752E3-023F-3C49-AC4F-5E3CB8812D05}"/>
          </ac:cxnSpMkLst>
        </pc:cxnChg>
        <pc:cxnChg chg="add del mod ord">
          <ac:chgData name="Oğuz Öztekin" userId="33c0df0f-d5fe-4bda-8f43-141ad7af67e3" providerId="ADAL" clId="{48B824AD-1B2A-47A8-8D92-6FE6E622A650}" dt="2024-12-16T09:10:52.084" v="8959"/>
          <ac:cxnSpMkLst>
            <pc:docMk/>
            <pc:sldMk cId="865606007" sldId="279"/>
            <ac:cxnSpMk id="228" creationId="{62C63EC9-C744-A727-C22B-DC0627DDE37B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09:17:12.055" v="17917"/>
        <pc:sldMkLst>
          <pc:docMk/>
          <pc:sldMk cId="594020395" sldId="280"/>
        </pc:sldMkLst>
        <pc:spChg chg="mod ord">
          <ac:chgData name="Oğuz Öztekin" userId="33c0df0f-d5fe-4bda-8f43-141ad7af67e3" providerId="ADAL" clId="{48B824AD-1B2A-47A8-8D92-6FE6E622A650}" dt="2024-12-16T09:17:12.041" v="17889"/>
          <ac:spMkLst>
            <pc:docMk/>
            <pc:sldMk cId="594020395" sldId="280"/>
            <ac:spMk id="2" creationId="{C6AA2C03-77E5-E9FF-42FB-2456EE8F4872}"/>
          </ac:spMkLst>
        </pc:spChg>
        <pc:spChg chg="add del mod modVis">
          <ac:chgData name="Oğuz Öztekin" userId="33c0df0f-d5fe-4bda-8f43-141ad7af67e3" providerId="ADAL" clId="{48B824AD-1B2A-47A8-8D92-6FE6E622A650}" dt="2024-12-16T09:11:58.963" v="9824"/>
          <ac:spMkLst>
            <pc:docMk/>
            <pc:sldMk cId="594020395" sldId="280"/>
            <ac:spMk id="4" creationId="{E132DEDA-3743-3145-4239-D1DB94A493DB}"/>
          </ac:spMkLst>
        </pc:spChg>
        <pc:spChg chg="add del mod modVis">
          <ac:chgData name="Oğuz Öztekin" userId="33c0df0f-d5fe-4bda-8f43-141ad7af67e3" providerId="ADAL" clId="{48B824AD-1B2A-47A8-8D92-6FE6E622A650}" dt="2024-12-16T09:12:15.508" v="9909"/>
          <ac:spMkLst>
            <pc:docMk/>
            <pc:sldMk cId="594020395" sldId="280"/>
            <ac:spMk id="6" creationId="{F3BF73E9-474F-A37D-F2FB-01C59CB0FE99}"/>
          </ac:spMkLst>
        </pc:spChg>
        <pc:spChg chg="add del mod modVis">
          <ac:chgData name="Oğuz Öztekin" userId="33c0df0f-d5fe-4bda-8f43-141ad7af67e3" providerId="ADAL" clId="{48B824AD-1B2A-47A8-8D92-6FE6E622A650}" dt="2024-12-16T09:12:18.187" v="9995"/>
          <ac:spMkLst>
            <pc:docMk/>
            <pc:sldMk cId="594020395" sldId="280"/>
            <ac:spMk id="8" creationId="{B521FAA3-9013-B67F-A4C3-6609A6BA9A45}"/>
          </ac:spMkLst>
        </pc:spChg>
        <pc:spChg chg="add del mod modVis">
          <ac:chgData name="Oğuz Öztekin" userId="33c0df0f-d5fe-4bda-8f43-141ad7af67e3" providerId="ADAL" clId="{48B824AD-1B2A-47A8-8D92-6FE6E622A650}" dt="2024-12-16T09:12:23.921" v="10075"/>
          <ac:spMkLst>
            <pc:docMk/>
            <pc:sldMk cId="594020395" sldId="280"/>
            <ac:spMk id="10" creationId="{1525B253-5C68-4B42-12D4-D217A9D24A2C}"/>
          </ac:spMkLst>
        </pc:spChg>
        <pc:spChg chg="add del mod modVis">
          <ac:chgData name="Oğuz Öztekin" userId="33c0df0f-d5fe-4bda-8f43-141ad7af67e3" providerId="ADAL" clId="{48B824AD-1B2A-47A8-8D92-6FE6E622A650}" dt="2024-12-16T09:12:26.934" v="10799"/>
          <ac:spMkLst>
            <pc:docMk/>
            <pc:sldMk cId="594020395" sldId="280"/>
            <ac:spMk id="12" creationId="{18406A53-8104-F7CE-9238-D4707DFC76BD}"/>
          </ac:spMkLst>
        </pc:spChg>
        <pc:spChg chg="add del mod">
          <ac:chgData name="Oğuz Öztekin" userId="33c0df0f-d5fe-4bda-8f43-141ad7af67e3" providerId="ADAL" clId="{48B824AD-1B2A-47A8-8D92-6FE6E622A650}" dt="2024-12-16T09:12:27.647" v="10868"/>
          <ac:spMkLst>
            <pc:docMk/>
            <pc:sldMk cId="594020395" sldId="280"/>
            <ac:spMk id="13" creationId="{F381CB21-F749-2AA9-2639-A327F32EA6E5}"/>
          </ac:spMkLst>
        </pc:spChg>
        <pc:spChg chg="add del mod">
          <ac:chgData name="Oğuz Öztekin" userId="33c0df0f-d5fe-4bda-8f43-141ad7af67e3" providerId="ADAL" clId="{48B824AD-1B2A-47A8-8D92-6FE6E622A650}" dt="2024-12-16T09:12:27.648" v="10869"/>
          <ac:spMkLst>
            <pc:docMk/>
            <pc:sldMk cId="594020395" sldId="280"/>
            <ac:spMk id="14" creationId="{C5B4D18C-1F15-FD36-B2C9-BB49EF194C1D}"/>
          </ac:spMkLst>
        </pc:spChg>
        <pc:spChg chg="add del mod">
          <ac:chgData name="Oğuz Öztekin" userId="33c0df0f-d5fe-4bda-8f43-141ad7af67e3" providerId="ADAL" clId="{48B824AD-1B2A-47A8-8D92-6FE6E622A650}" dt="2024-12-16T09:12:27.648" v="10870"/>
          <ac:spMkLst>
            <pc:docMk/>
            <pc:sldMk cId="594020395" sldId="280"/>
            <ac:spMk id="15" creationId="{9C094452-7B29-A5E5-25F2-4B8A64D9F6AA}"/>
          </ac:spMkLst>
        </pc:spChg>
        <pc:spChg chg="add del mod">
          <ac:chgData name="Oğuz Öztekin" userId="33c0df0f-d5fe-4bda-8f43-141ad7af67e3" providerId="ADAL" clId="{48B824AD-1B2A-47A8-8D92-6FE6E622A650}" dt="2024-12-16T09:12:27.649" v="10871"/>
          <ac:spMkLst>
            <pc:docMk/>
            <pc:sldMk cId="594020395" sldId="280"/>
            <ac:spMk id="16" creationId="{62A1D600-9C2F-9F4F-C566-00332BAE7F63}"/>
          </ac:spMkLst>
        </pc:spChg>
        <pc:spChg chg="add del mod">
          <ac:chgData name="Oğuz Öztekin" userId="33c0df0f-d5fe-4bda-8f43-141ad7af67e3" providerId="ADAL" clId="{48B824AD-1B2A-47A8-8D92-6FE6E622A650}" dt="2024-12-16T09:12:27.649" v="10872"/>
          <ac:spMkLst>
            <pc:docMk/>
            <pc:sldMk cId="594020395" sldId="280"/>
            <ac:spMk id="17" creationId="{39CAC708-484B-083E-D363-E6946D290B65}"/>
          </ac:spMkLst>
        </pc:spChg>
        <pc:spChg chg="add del mod">
          <ac:chgData name="Oğuz Öztekin" userId="33c0df0f-d5fe-4bda-8f43-141ad7af67e3" providerId="ADAL" clId="{48B824AD-1B2A-47A8-8D92-6FE6E622A650}" dt="2024-12-16T09:12:27.650" v="10873"/>
          <ac:spMkLst>
            <pc:docMk/>
            <pc:sldMk cId="594020395" sldId="280"/>
            <ac:spMk id="18" creationId="{7FC192CD-F5DA-2E03-A284-0F97BEA94FA3}"/>
          </ac:spMkLst>
        </pc:spChg>
        <pc:spChg chg="add del mod">
          <ac:chgData name="Oğuz Öztekin" userId="33c0df0f-d5fe-4bda-8f43-141ad7af67e3" providerId="ADAL" clId="{48B824AD-1B2A-47A8-8D92-6FE6E622A650}" dt="2024-12-16T09:12:27.650" v="10874"/>
          <ac:spMkLst>
            <pc:docMk/>
            <pc:sldMk cId="594020395" sldId="280"/>
            <ac:spMk id="19" creationId="{C5C3BE61-8943-17F6-FFDD-86739C2865D6}"/>
          </ac:spMkLst>
        </pc:spChg>
        <pc:spChg chg="add del mod">
          <ac:chgData name="Oğuz Öztekin" userId="33c0df0f-d5fe-4bda-8f43-141ad7af67e3" providerId="ADAL" clId="{48B824AD-1B2A-47A8-8D92-6FE6E622A650}" dt="2024-12-16T09:12:27.650" v="10875"/>
          <ac:spMkLst>
            <pc:docMk/>
            <pc:sldMk cId="594020395" sldId="280"/>
            <ac:spMk id="20" creationId="{8D8321E9-7C39-83AA-546E-3CE2E2C70813}"/>
          </ac:spMkLst>
        </pc:spChg>
        <pc:spChg chg="add del mod">
          <ac:chgData name="Oğuz Öztekin" userId="33c0df0f-d5fe-4bda-8f43-141ad7af67e3" providerId="ADAL" clId="{48B824AD-1B2A-47A8-8D92-6FE6E622A650}" dt="2024-12-16T09:12:27.651" v="10876"/>
          <ac:spMkLst>
            <pc:docMk/>
            <pc:sldMk cId="594020395" sldId="280"/>
            <ac:spMk id="21" creationId="{26FB2FC3-1F34-AAE1-6727-9DD31A9CA997}"/>
          </ac:spMkLst>
        </pc:spChg>
        <pc:spChg chg="add del mod">
          <ac:chgData name="Oğuz Öztekin" userId="33c0df0f-d5fe-4bda-8f43-141ad7af67e3" providerId="ADAL" clId="{48B824AD-1B2A-47A8-8D92-6FE6E622A650}" dt="2024-12-16T09:12:27.651" v="10877"/>
          <ac:spMkLst>
            <pc:docMk/>
            <pc:sldMk cId="594020395" sldId="280"/>
            <ac:spMk id="22" creationId="{8854AFC2-597B-1A0F-D2E5-F95F9E267D03}"/>
          </ac:spMkLst>
        </pc:spChg>
        <pc:spChg chg="add del mod">
          <ac:chgData name="Oğuz Öztekin" userId="33c0df0f-d5fe-4bda-8f43-141ad7af67e3" providerId="ADAL" clId="{48B824AD-1B2A-47A8-8D92-6FE6E622A650}" dt="2024-12-16T09:12:27.652" v="10878"/>
          <ac:spMkLst>
            <pc:docMk/>
            <pc:sldMk cId="594020395" sldId="280"/>
            <ac:spMk id="23" creationId="{D76C9C7E-C7A9-57A5-8A27-F29FBC52890A}"/>
          </ac:spMkLst>
        </pc:spChg>
        <pc:spChg chg="add del mod">
          <ac:chgData name="Oğuz Öztekin" userId="33c0df0f-d5fe-4bda-8f43-141ad7af67e3" providerId="ADAL" clId="{48B824AD-1B2A-47A8-8D92-6FE6E622A650}" dt="2024-12-16T09:12:27.653" v="10879"/>
          <ac:spMkLst>
            <pc:docMk/>
            <pc:sldMk cId="594020395" sldId="280"/>
            <ac:spMk id="24" creationId="{56C5965D-80A3-D217-688C-B273CBB96879}"/>
          </ac:spMkLst>
        </pc:spChg>
        <pc:spChg chg="add del mod">
          <ac:chgData name="Oğuz Öztekin" userId="33c0df0f-d5fe-4bda-8f43-141ad7af67e3" providerId="ADAL" clId="{48B824AD-1B2A-47A8-8D92-6FE6E622A650}" dt="2024-12-16T09:12:27.653" v="10880"/>
          <ac:spMkLst>
            <pc:docMk/>
            <pc:sldMk cId="594020395" sldId="280"/>
            <ac:spMk id="25" creationId="{AC2BE47B-ABF0-97AB-BD4B-A5F66859D765}"/>
          </ac:spMkLst>
        </pc:spChg>
        <pc:spChg chg="add del mod">
          <ac:chgData name="Oğuz Öztekin" userId="33c0df0f-d5fe-4bda-8f43-141ad7af67e3" providerId="ADAL" clId="{48B824AD-1B2A-47A8-8D92-6FE6E622A650}" dt="2024-12-16T09:12:27.654" v="10881"/>
          <ac:spMkLst>
            <pc:docMk/>
            <pc:sldMk cId="594020395" sldId="280"/>
            <ac:spMk id="26" creationId="{1C455A1E-DBB9-7469-DDAE-EEDAC3F50367}"/>
          </ac:spMkLst>
        </pc:spChg>
        <pc:spChg chg="add del mod modVis">
          <ac:chgData name="Oğuz Öztekin" userId="33c0df0f-d5fe-4bda-8f43-141ad7af67e3" providerId="ADAL" clId="{48B824AD-1B2A-47A8-8D92-6FE6E622A650}" dt="2024-12-16T09:12:27.686" v="10907"/>
          <ac:spMkLst>
            <pc:docMk/>
            <pc:sldMk cId="594020395" sldId="280"/>
            <ac:spMk id="28" creationId="{49C306B6-6CFB-FE4B-083F-4674544A62EA}"/>
          </ac:spMkLst>
        </pc:spChg>
        <pc:spChg chg="add del mod modVis">
          <ac:chgData name="Oğuz Öztekin" userId="33c0df0f-d5fe-4bda-8f43-141ad7af67e3" providerId="ADAL" clId="{48B824AD-1B2A-47A8-8D92-6FE6E622A650}" dt="2024-12-16T09:12:29.017" v="10991"/>
          <ac:spMkLst>
            <pc:docMk/>
            <pc:sldMk cId="594020395" sldId="280"/>
            <ac:spMk id="30" creationId="{7209C4FB-3F13-FFE4-7056-7B9D69987F7C}"/>
          </ac:spMkLst>
        </pc:spChg>
        <pc:spChg chg="del mod">
          <ac:chgData name="Oğuz Öztekin" userId="33c0df0f-d5fe-4bda-8f43-141ad7af67e3" providerId="ADAL" clId="{48B824AD-1B2A-47A8-8D92-6FE6E622A650}" dt="2024-12-16T09:13:36.787" v="12468"/>
          <ac:spMkLst>
            <pc:docMk/>
            <pc:sldMk cId="594020395" sldId="280"/>
            <ac:spMk id="32" creationId="{F93F298F-2A59-3AE6-0F82-29D5BCF18E1B}"/>
          </ac:spMkLst>
        </pc:spChg>
        <pc:spChg chg="add del mod modVis">
          <ac:chgData name="Oğuz Öztekin" userId="33c0df0f-d5fe-4bda-8f43-141ad7af67e3" providerId="ADAL" clId="{48B824AD-1B2A-47A8-8D92-6FE6E622A650}" dt="2024-12-16T09:13:49.777" v="12703"/>
          <ac:spMkLst>
            <pc:docMk/>
            <pc:sldMk cId="594020395" sldId="280"/>
            <ac:spMk id="34" creationId="{CF54BEF7-4B78-14AE-C509-3DC5DF11EE79}"/>
          </ac:spMkLst>
        </pc:spChg>
        <pc:spChg chg="mod">
          <ac:chgData name="Oğuz Öztekin" userId="33c0df0f-d5fe-4bda-8f43-141ad7af67e3" providerId="ADAL" clId="{48B824AD-1B2A-47A8-8D92-6FE6E622A650}" dt="2024-12-16T09:17:12.045" v="17901"/>
          <ac:spMkLst>
            <pc:docMk/>
            <pc:sldMk cId="594020395" sldId="280"/>
            <ac:spMk id="35" creationId="{3E9F1F75-4021-E92C-3FB5-3259B6E56D9B}"/>
          </ac:spMkLst>
        </pc:spChg>
        <pc:spChg chg="mod">
          <ac:chgData name="Oğuz Öztekin" userId="33c0df0f-d5fe-4bda-8f43-141ad7af67e3" providerId="ADAL" clId="{48B824AD-1B2A-47A8-8D92-6FE6E622A650}" dt="2024-12-16T09:17:12.045" v="17902"/>
          <ac:spMkLst>
            <pc:docMk/>
            <pc:sldMk cId="594020395" sldId="280"/>
            <ac:spMk id="36" creationId="{398C4C45-3695-8C37-D5DF-7A406FD7B0F5}"/>
          </ac:spMkLst>
        </pc:spChg>
        <pc:spChg chg="mod">
          <ac:chgData name="Oğuz Öztekin" userId="33c0df0f-d5fe-4bda-8f43-141ad7af67e3" providerId="ADAL" clId="{48B824AD-1B2A-47A8-8D92-6FE6E622A650}" dt="2024-12-16T09:17:12.046" v="17903"/>
          <ac:spMkLst>
            <pc:docMk/>
            <pc:sldMk cId="594020395" sldId="280"/>
            <ac:spMk id="37" creationId="{F2FA9605-EB2E-6CD9-EE02-3C1527136C50}"/>
          </ac:spMkLst>
        </pc:spChg>
        <pc:spChg chg="add del mod ord">
          <ac:chgData name="Oğuz Öztekin" userId="33c0df0f-d5fe-4bda-8f43-141ad7af67e3" providerId="ADAL" clId="{48B824AD-1B2A-47A8-8D92-6FE6E622A650}" dt="2024-12-16T09:15:50.230" v="15476"/>
          <ac:spMkLst>
            <pc:docMk/>
            <pc:sldMk cId="594020395" sldId="280"/>
            <ac:spMk id="38" creationId="{0CD60EF2-F8AD-F045-D170-5CF367366F09}"/>
          </ac:spMkLst>
        </pc:spChg>
        <pc:spChg chg="add del mod modVis">
          <ac:chgData name="Oğuz Öztekin" userId="33c0df0f-d5fe-4bda-8f43-141ad7af67e3" providerId="ADAL" clId="{48B824AD-1B2A-47A8-8D92-6FE6E622A650}" dt="2024-12-16T09:13:56.960" v="12829"/>
          <ac:spMkLst>
            <pc:docMk/>
            <pc:sldMk cId="594020395" sldId="280"/>
            <ac:spMk id="41" creationId="{6BE7A09F-D524-31A4-B4F2-FF0B080511B6}"/>
          </ac:spMkLst>
        </pc:spChg>
        <pc:spChg chg="add del mod modVis">
          <ac:chgData name="Oğuz Öztekin" userId="33c0df0f-d5fe-4bda-8f43-141ad7af67e3" providerId="ADAL" clId="{48B824AD-1B2A-47A8-8D92-6FE6E622A650}" dt="2024-12-16T09:14:04.920" v="12955"/>
          <ac:spMkLst>
            <pc:docMk/>
            <pc:sldMk cId="594020395" sldId="280"/>
            <ac:spMk id="44" creationId="{B19D8BC6-851F-4BD7-AFFF-E785AEFD00D8}"/>
          </ac:spMkLst>
        </pc:spChg>
        <pc:spChg chg="add del mod modVis">
          <ac:chgData name="Oğuz Öztekin" userId="33c0df0f-d5fe-4bda-8f43-141ad7af67e3" providerId="ADAL" clId="{48B824AD-1B2A-47A8-8D92-6FE6E622A650}" dt="2024-12-16T09:14:07.678" v="13081"/>
          <ac:spMkLst>
            <pc:docMk/>
            <pc:sldMk cId="594020395" sldId="280"/>
            <ac:spMk id="46" creationId="{6C8FD2DD-E6CA-30CA-7122-930DBF1FA4F3}"/>
          </ac:spMkLst>
        </pc:spChg>
        <pc:spChg chg="add del mod modVis">
          <ac:chgData name="Oğuz Öztekin" userId="33c0df0f-d5fe-4bda-8f43-141ad7af67e3" providerId="ADAL" clId="{48B824AD-1B2A-47A8-8D92-6FE6E622A650}" dt="2024-12-16T09:14:12.165" v="13218"/>
          <ac:spMkLst>
            <pc:docMk/>
            <pc:sldMk cId="594020395" sldId="280"/>
            <ac:spMk id="48" creationId="{29C9C531-A16A-50D8-FBEF-21CB5F220049}"/>
          </ac:spMkLst>
        </pc:spChg>
        <pc:spChg chg="add del mod modVis">
          <ac:chgData name="Oğuz Öztekin" userId="33c0df0f-d5fe-4bda-8f43-141ad7af67e3" providerId="ADAL" clId="{48B824AD-1B2A-47A8-8D92-6FE6E622A650}" dt="2024-12-16T09:14:15.560" v="13406"/>
          <ac:spMkLst>
            <pc:docMk/>
            <pc:sldMk cId="594020395" sldId="280"/>
            <ac:spMk id="50" creationId="{191F507A-7418-F997-D0B5-D6D6C9CB9715}"/>
          </ac:spMkLst>
        </pc:spChg>
        <pc:spChg chg="add mod">
          <ac:chgData name="Oğuz Öztekin" userId="33c0df0f-d5fe-4bda-8f43-141ad7af67e3" providerId="ADAL" clId="{48B824AD-1B2A-47A8-8D92-6FE6E622A650}" dt="2024-12-16T09:17:12.050" v="17911"/>
          <ac:spMkLst>
            <pc:docMk/>
            <pc:sldMk cId="594020395" sldId="280"/>
            <ac:spMk id="51" creationId="{C371C815-064C-7820-BBDD-081A023339F2}"/>
          </ac:spMkLst>
        </pc:spChg>
        <pc:spChg chg="add mod">
          <ac:chgData name="Oğuz Öztekin" userId="33c0df0f-d5fe-4bda-8f43-141ad7af67e3" providerId="ADAL" clId="{48B824AD-1B2A-47A8-8D92-6FE6E622A650}" dt="2024-12-16T09:17:12.043" v="17898"/>
          <ac:spMkLst>
            <pc:docMk/>
            <pc:sldMk cId="594020395" sldId="280"/>
            <ac:spMk id="52" creationId="{975A46FA-97AE-1D8E-9B01-48A3F2917481}"/>
          </ac:spMkLst>
        </pc:spChg>
        <pc:spChg chg="add del mod modVis">
          <ac:chgData name="Oğuz Öztekin" userId="33c0df0f-d5fe-4bda-8f43-141ad7af67e3" providerId="ADAL" clId="{48B824AD-1B2A-47A8-8D92-6FE6E622A650}" dt="2024-12-16T09:14:23.204" v="13511"/>
          <ac:spMkLst>
            <pc:docMk/>
            <pc:sldMk cId="594020395" sldId="280"/>
            <ac:spMk id="55" creationId="{204E4DF7-8889-4015-875E-06D136A58271}"/>
          </ac:spMkLst>
        </pc:spChg>
        <pc:spChg chg="add del mod modVis">
          <ac:chgData name="Oğuz Öztekin" userId="33c0df0f-d5fe-4bda-8f43-141ad7af67e3" providerId="ADAL" clId="{48B824AD-1B2A-47A8-8D92-6FE6E622A650}" dt="2024-12-16T09:14:25.666" v="13616"/>
          <ac:spMkLst>
            <pc:docMk/>
            <pc:sldMk cId="594020395" sldId="280"/>
            <ac:spMk id="57" creationId="{1C0CDF68-2531-02E1-A1C1-1F8753EE5851}"/>
          </ac:spMkLst>
        </pc:spChg>
        <pc:spChg chg="add del mod modVis">
          <ac:chgData name="Oğuz Öztekin" userId="33c0df0f-d5fe-4bda-8f43-141ad7af67e3" providerId="ADAL" clId="{48B824AD-1B2A-47A8-8D92-6FE6E622A650}" dt="2024-12-16T09:14:26.243" v="13721"/>
          <ac:spMkLst>
            <pc:docMk/>
            <pc:sldMk cId="594020395" sldId="280"/>
            <ac:spMk id="59" creationId="{AFF2848D-A92D-4B02-4719-34726EDA0F47}"/>
          </ac:spMkLst>
        </pc:spChg>
        <pc:spChg chg="add del mod modVis">
          <ac:chgData name="Oğuz Öztekin" userId="33c0df0f-d5fe-4bda-8f43-141ad7af67e3" providerId="ADAL" clId="{48B824AD-1B2A-47A8-8D92-6FE6E622A650}" dt="2024-12-16T09:14:27.273" v="13826"/>
          <ac:spMkLst>
            <pc:docMk/>
            <pc:sldMk cId="594020395" sldId="280"/>
            <ac:spMk id="61" creationId="{B0A0CF19-F7F8-9BA7-35EC-9D9DCF823B64}"/>
          </ac:spMkLst>
        </pc:spChg>
        <pc:spChg chg="add del mod modVis">
          <ac:chgData name="Oğuz Öztekin" userId="33c0df0f-d5fe-4bda-8f43-141ad7af67e3" providerId="ADAL" clId="{48B824AD-1B2A-47A8-8D92-6FE6E622A650}" dt="2024-12-16T09:14:34.657" v="13936"/>
          <ac:spMkLst>
            <pc:docMk/>
            <pc:sldMk cId="594020395" sldId="280"/>
            <ac:spMk id="63" creationId="{AD55C2EF-9C84-91D0-D200-607320F127C1}"/>
          </ac:spMkLst>
        </pc:spChg>
        <pc:spChg chg="add del mod modVis">
          <ac:chgData name="Oğuz Öztekin" userId="33c0df0f-d5fe-4bda-8f43-141ad7af67e3" providerId="ADAL" clId="{48B824AD-1B2A-47A8-8D92-6FE6E622A650}" dt="2024-12-16T09:14:42.690" v="14048"/>
          <ac:spMkLst>
            <pc:docMk/>
            <pc:sldMk cId="594020395" sldId="280"/>
            <ac:spMk id="65" creationId="{C2F15EFE-C8B6-F027-4A89-4D97461FF8F5}"/>
          </ac:spMkLst>
        </pc:spChg>
        <pc:spChg chg="add del mod modVis">
          <ac:chgData name="Oğuz Öztekin" userId="33c0df0f-d5fe-4bda-8f43-141ad7af67e3" providerId="ADAL" clId="{48B824AD-1B2A-47A8-8D92-6FE6E622A650}" dt="2024-12-16T09:14:56.457" v="14181"/>
          <ac:spMkLst>
            <pc:docMk/>
            <pc:sldMk cId="594020395" sldId="280"/>
            <ac:spMk id="67" creationId="{4E9254B4-F6BF-BD6A-AAF6-0D489FC671CD}"/>
          </ac:spMkLst>
        </pc:spChg>
        <pc:spChg chg="add del mod modVis">
          <ac:chgData name="Oğuz Öztekin" userId="33c0df0f-d5fe-4bda-8f43-141ad7af67e3" providerId="ADAL" clId="{48B824AD-1B2A-47A8-8D92-6FE6E622A650}" dt="2024-12-16T09:14:59.462" v="14314"/>
          <ac:spMkLst>
            <pc:docMk/>
            <pc:sldMk cId="594020395" sldId="280"/>
            <ac:spMk id="69" creationId="{B366A64A-6744-261A-938E-A96601005650}"/>
          </ac:spMkLst>
        </pc:spChg>
        <pc:spChg chg="add del mod modVis">
          <ac:chgData name="Oğuz Öztekin" userId="33c0df0f-d5fe-4bda-8f43-141ad7af67e3" providerId="ADAL" clId="{48B824AD-1B2A-47A8-8D92-6FE6E622A650}" dt="2024-12-16T09:15:26.651" v="14520"/>
          <ac:spMkLst>
            <pc:docMk/>
            <pc:sldMk cId="594020395" sldId="280"/>
            <ac:spMk id="71" creationId="{C97F4E20-1FA0-EDE7-D964-FC8D31EF5D68}"/>
          </ac:spMkLst>
        </pc:spChg>
        <pc:spChg chg="add del mod ord">
          <ac:chgData name="Oğuz Öztekin" userId="33c0df0f-d5fe-4bda-8f43-141ad7af67e3" providerId="ADAL" clId="{48B824AD-1B2A-47A8-8D92-6FE6E622A650}" dt="2024-12-16T09:17:12.051" v="17913"/>
          <ac:spMkLst>
            <pc:docMk/>
            <pc:sldMk cId="594020395" sldId="280"/>
            <ac:spMk id="72" creationId="{217962B5-07D1-A6BB-D924-2FCFE734D1BA}"/>
          </ac:spMkLst>
        </pc:spChg>
        <pc:spChg chg="add del mod modVis">
          <ac:chgData name="Oğuz Öztekin" userId="33c0df0f-d5fe-4bda-8f43-141ad7af67e3" providerId="ADAL" clId="{48B824AD-1B2A-47A8-8D92-6FE6E622A650}" dt="2024-12-16T09:15:31.803" v="14797"/>
          <ac:spMkLst>
            <pc:docMk/>
            <pc:sldMk cId="594020395" sldId="280"/>
            <ac:spMk id="77" creationId="{1E40CE88-EC41-EA80-A225-B79576FC40C7}"/>
          </ac:spMkLst>
        </pc:spChg>
        <pc:spChg chg="add del mod modVis">
          <ac:chgData name="Oğuz Öztekin" userId="33c0df0f-d5fe-4bda-8f43-141ad7af67e3" providerId="ADAL" clId="{48B824AD-1B2A-47A8-8D92-6FE6E622A650}" dt="2024-12-16T09:15:35.751" v="15102"/>
          <ac:spMkLst>
            <pc:docMk/>
            <pc:sldMk cId="594020395" sldId="280"/>
            <ac:spMk id="79" creationId="{1C5E2687-9933-70F2-DBDE-A8364A516C81}"/>
          </ac:spMkLst>
        </pc:spChg>
        <pc:spChg chg="add del mod modVis">
          <ac:chgData name="Oğuz Öztekin" userId="33c0df0f-d5fe-4bda-8f43-141ad7af67e3" providerId="ADAL" clId="{48B824AD-1B2A-47A8-8D92-6FE6E622A650}" dt="2024-12-16T09:15:41.525" v="15286"/>
          <ac:spMkLst>
            <pc:docMk/>
            <pc:sldMk cId="594020395" sldId="280"/>
            <ac:spMk id="81" creationId="{15B3BC6C-ADEC-75C4-6928-6CE1771CF524}"/>
          </ac:spMkLst>
        </pc:spChg>
        <pc:spChg chg="add del mod modVis">
          <ac:chgData name="Oğuz Öztekin" userId="33c0df0f-d5fe-4bda-8f43-141ad7af67e3" providerId="ADAL" clId="{48B824AD-1B2A-47A8-8D92-6FE6E622A650}" dt="2024-12-16T09:15:44.543" v="15470"/>
          <ac:spMkLst>
            <pc:docMk/>
            <pc:sldMk cId="594020395" sldId="280"/>
            <ac:spMk id="83" creationId="{C48238D0-8E02-427E-37A8-DD27DA5138B9}"/>
          </ac:spMkLst>
        </pc:spChg>
        <pc:spChg chg="add del mod modVis">
          <ac:chgData name="Oğuz Öztekin" userId="33c0df0f-d5fe-4bda-8f43-141ad7af67e3" providerId="ADAL" clId="{48B824AD-1B2A-47A8-8D92-6FE6E622A650}" dt="2024-12-16T09:15:50.290" v="15564"/>
          <ac:spMkLst>
            <pc:docMk/>
            <pc:sldMk cId="594020395" sldId="280"/>
            <ac:spMk id="85" creationId="{A364F48A-44D6-1451-51C3-F4E17C7E4B0B}"/>
          </ac:spMkLst>
        </pc:spChg>
        <pc:spChg chg="mod">
          <ac:chgData name="Oğuz Öztekin" userId="33c0df0f-d5fe-4bda-8f43-141ad7af67e3" providerId="ADAL" clId="{48B824AD-1B2A-47A8-8D92-6FE6E622A650}" dt="2024-12-16T09:17:12.046" v="17904"/>
          <ac:spMkLst>
            <pc:docMk/>
            <pc:sldMk cId="594020395" sldId="280"/>
            <ac:spMk id="86" creationId="{4398599D-315C-1B83-0AC7-A49EF39A88FA}"/>
          </ac:spMkLst>
        </pc:spChg>
        <pc:spChg chg="mod">
          <ac:chgData name="Oğuz Öztekin" userId="33c0df0f-d5fe-4bda-8f43-141ad7af67e3" providerId="ADAL" clId="{48B824AD-1B2A-47A8-8D92-6FE6E622A650}" dt="2024-12-16T09:17:12.046" v="17905"/>
          <ac:spMkLst>
            <pc:docMk/>
            <pc:sldMk cId="594020395" sldId="280"/>
            <ac:spMk id="87" creationId="{317A7B25-7BDD-13B5-300B-66A0DCE222F3}"/>
          </ac:spMkLst>
        </pc:spChg>
        <pc:spChg chg="mod">
          <ac:chgData name="Oğuz Öztekin" userId="33c0df0f-d5fe-4bda-8f43-141ad7af67e3" providerId="ADAL" clId="{48B824AD-1B2A-47A8-8D92-6FE6E622A650}" dt="2024-12-16T09:17:12.048" v="17906"/>
          <ac:spMkLst>
            <pc:docMk/>
            <pc:sldMk cId="594020395" sldId="280"/>
            <ac:spMk id="88" creationId="{11ACAB09-F112-8BB0-41D7-61A6DB96892C}"/>
          </ac:spMkLst>
        </pc:spChg>
        <pc:spChg chg="mod">
          <ac:chgData name="Oğuz Öztekin" userId="33c0df0f-d5fe-4bda-8f43-141ad7af67e3" providerId="ADAL" clId="{48B824AD-1B2A-47A8-8D92-6FE6E622A650}" dt="2024-12-16T09:17:12.048" v="17907"/>
          <ac:spMkLst>
            <pc:docMk/>
            <pc:sldMk cId="594020395" sldId="280"/>
            <ac:spMk id="89" creationId="{3BFC80D0-9BA7-5A34-05AC-5195C5B084B0}"/>
          </ac:spMkLst>
        </pc:spChg>
        <pc:spChg chg="mod">
          <ac:chgData name="Oğuz Öztekin" userId="33c0df0f-d5fe-4bda-8f43-141ad7af67e3" providerId="ADAL" clId="{48B824AD-1B2A-47A8-8D92-6FE6E622A650}" dt="2024-12-16T09:17:12.049" v="17908"/>
          <ac:spMkLst>
            <pc:docMk/>
            <pc:sldMk cId="594020395" sldId="280"/>
            <ac:spMk id="90" creationId="{D3A26D38-7D44-3AB5-F264-76C525055ABA}"/>
          </ac:spMkLst>
        </pc:spChg>
        <pc:spChg chg="mod">
          <ac:chgData name="Oğuz Öztekin" userId="33c0df0f-d5fe-4bda-8f43-141ad7af67e3" providerId="ADAL" clId="{48B824AD-1B2A-47A8-8D92-6FE6E622A650}" dt="2024-12-16T09:17:12.049" v="17909"/>
          <ac:spMkLst>
            <pc:docMk/>
            <pc:sldMk cId="594020395" sldId="280"/>
            <ac:spMk id="91" creationId="{86085410-C76B-EBD9-A398-9527CC61790C}"/>
          </ac:spMkLst>
        </pc:spChg>
        <pc:spChg chg="mod">
          <ac:chgData name="Oğuz Öztekin" userId="33c0df0f-d5fe-4bda-8f43-141ad7af67e3" providerId="ADAL" clId="{48B824AD-1B2A-47A8-8D92-6FE6E622A650}" dt="2024-12-16T09:17:12.050" v="17910"/>
          <ac:spMkLst>
            <pc:docMk/>
            <pc:sldMk cId="594020395" sldId="280"/>
            <ac:spMk id="92" creationId="{044543A5-1D2D-7E42-A7E9-0194FAFF5FF9}"/>
          </ac:spMkLst>
        </pc:spChg>
        <pc:spChg chg="add del mod modVis">
          <ac:chgData name="Oğuz Öztekin" userId="33c0df0f-d5fe-4bda-8f43-141ad7af67e3" providerId="ADAL" clId="{48B824AD-1B2A-47A8-8D92-6FE6E622A650}" dt="2024-12-16T09:15:55.538" v="15733"/>
          <ac:spMkLst>
            <pc:docMk/>
            <pc:sldMk cId="594020395" sldId="280"/>
            <ac:spMk id="94" creationId="{085BD675-3828-06BD-40A6-8CDC57B9A53E}"/>
          </ac:spMkLst>
        </pc:spChg>
        <pc:spChg chg="add del mod modVis">
          <ac:chgData name="Oğuz Öztekin" userId="33c0df0f-d5fe-4bda-8f43-141ad7af67e3" providerId="ADAL" clId="{48B824AD-1B2A-47A8-8D92-6FE6E622A650}" dt="2024-12-16T09:15:57.685" v="15902"/>
          <ac:spMkLst>
            <pc:docMk/>
            <pc:sldMk cId="594020395" sldId="280"/>
            <ac:spMk id="160" creationId="{A9E003FE-4871-A545-8FDE-6F4AA9D61F31}"/>
          </ac:spMkLst>
        </pc:spChg>
        <pc:spChg chg="add del mod modVis">
          <ac:chgData name="Oğuz Öztekin" userId="33c0df0f-d5fe-4bda-8f43-141ad7af67e3" providerId="ADAL" clId="{48B824AD-1B2A-47A8-8D92-6FE6E622A650}" dt="2024-12-16T09:16:00.796" v="16082"/>
          <ac:spMkLst>
            <pc:docMk/>
            <pc:sldMk cId="594020395" sldId="280"/>
            <ac:spMk id="162" creationId="{B81E0E4B-4984-3D0D-5E45-21CA5EE8B2B5}"/>
          </ac:spMkLst>
        </pc:spChg>
        <pc:spChg chg="add del mod modVis">
          <ac:chgData name="Oğuz Öztekin" userId="33c0df0f-d5fe-4bda-8f43-141ad7af67e3" providerId="ADAL" clId="{48B824AD-1B2A-47A8-8D92-6FE6E622A650}" dt="2024-12-16T09:16:08.392" v="16331"/>
          <ac:spMkLst>
            <pc:docMk/>
            <pc:sldMk cId="594020395" sldId="280"/>
            <ac:spMk id="164" creationId="{D6DFE5A8-FD2F-F57C-8060-9D0C9233CD65}"/>
          </ac:spMkLst>
        </pc:spChg>
        <pc:spChg chg="add del mod modVis">
          <ac:chgData name="Oğuz Öztekin" userId="33c0df0f-d5fe-4bda-8f43-141ad7af67e3" providerId="ADAL" clId="{48B824AD-1B2A-47A8-8D92-6FE6E622A650}" dt="2024-12-16T09:16:13.111" v="16511"/>
          <ac:spMkLst>
            <pc:docMk/>
            <pc:sldMk cId="594020395" sldId="280"/>
            <ac:spMk id="166" creationId="{9F4D537B-76E6-1087-C976-4CE9C5645D1D}"/>
          </ac:spMkLst>
        </pc:spChg>
        <pc:spChg chg="add del mod modVis">
          <ac:chgData name="Oğuz Öztekin" userId="33c0df0f-d5fe-4bda-8f43-141ad7af67e3" providerId="ADAL" clId="{48B824AD-1B2A-47A8-8D92-6FE6E622A650}" dt="2024-12-16T09:16:14.965" v="16647"/>
          <ac:spMkLst>
            <pc:docMk/>
            <pc:sldMk cId="594020395" sldId="280"/>
            <ac:spMk id="168" creationId="{E2780D46-5B46-3657-786D-060DC91341D1}"/>
          </ac:spMkLst>
        </pc:spChg>
        <pc:spChg chg="add del mod modVis">
          <ac:chgData name="Oğuz Öztekin" userId="33c0df0f-d5fe-4bda-8f43-141ad7af67e3" providerId="ADAL" clId="{48B824AD-1B2A-47A8-8D92-6FE6E622A650}" dt="2024-12-16T09:16:17.858" v="16821"/>
          <ac:spMkLst>
            <pc:docMk/>
            <pc:sldMk cId="594020395" sldId="280"/>
            <ac:spMk id="170" creationId="{42593456-622B-2E8A-E4C2-1171C8772BC2}"/>
          </ac:spMkLst>
        </pc:spChg>
        <pc:spChg chg="add del mod modVis">
          <ac:chgData name="Oğuz Öztekin" userId="33c0df0f-d5fe-4bda-8f43-141ad7af67e3" providerId="ADAL" clId="{48B824AD-1B2A-47A8-8D92-6FE6E622A650}" dt="2024-12-16T09:16:20.190" v="16995"/>
          <ac:spMkLst>
            <pc:docMk/>
            <pc:sldMk cId="594020395" sldId="280"/>
            <ac:spMk id="172" creationId="{045EEE4C-8A65-A00E-5A0D-A5B80DA384B8}"/>
          </ac:spMkLst>
        </pc:spChg>
        <pc:spChg chg="add del mod modVis">
          <ac:chgData name="Oğuz Öztekin" userId="33c0df0f-d5fe-4bda-8f43-141ad7af67e3" providerId="ADAL" clId="{48B824AD-1B2A-47A8-8D92-6FE6E622A650}" dt="2024-12-16T09:16:22.882" v="17153"/>
          <ac:spMkLst>
            <pc:docMk/>
            <pc:sldMk cId="594020395" sldId="280"/>
            <ac:spMk id="174" creationId="{CD46A314-D504-A0F0-12B7-64382300BAFF}"/>
          </ac:spMkLst>
        </pc:spChg>
        <pc:spChg chg="add del mod modVis">
          <ac:chgData name="Oğuz Öztekin" userId="33c0df0f-d5fe-4bda-8f43-141ad7af67e3" providerId="ADAL" clId="{48B824AD-1B2A-47A8-8D92-6FE6E622A650}" dt="2024-12-16T09:16:27.924" v="17287"/>
          <ac:spMkLst>
            <pc:docMk/>
            <pc:sldMk cId="594020395" sldId="280"/>
            <ac:spMk id="176" creationId="{9EFF0879-19D8-E14B-5984-18CF3461B4AD}"/>
          </ac:spMkLst>
        </pc:spChg>
        <pc:spChg chg="add del mod modVis">
          <ac:chgData name="Oğuz Öztekin" userId="33c0df0f-d5fe-4bda-8f43-141ad7af67e3" providerId="ADAL" clId="{48B824AD-1B2A-47A8-8D92-6FE6E622A650}" dt="2024-12-16T09:16:57.216" v="17486"/>
          <ac:spMkLst>
            <pc:docMk/>
            <pc:sldMk cId="594020395" sldId="280"/>
            <ac:spMk id="178" creationId="{7BE679BD-74F7-876D-A877-88BA6EFF91A2}"/>
          </ac:spMkLst>
        </pc:spChg>
        <pc:spChg chg="add del mod modVis">
          <ac:chgData name="Oğuz Öztekin" userId="33c0df0f-d5fe-4bda-8f43-141ad7af67e3" providerId="ADAL" clId="{48B824AD-1B2A-47A8-8D92-6FE6E622A650}" dt="2024-12-16T09:17:10.725" v="17815"/>
          <ac:spMkLst>
            <pc:docMk/>
            <pc:sldMk cId="594020395" sldId="280"/>
            <ac:spMk id="180" creationId="{FA302303-240D-F073-EBF0-41CBD5FEB8D1}"/>
          </ac:spMkLst>
        </pc:spChg>
        <pc:spChg chg="add del mod">
          <ac:chgData name="Oğuz Öztekin" userId="33c0df0f-d5fe-4bda-8f43-141ad7af67e3" providerId="ADAL" clId="{48B824AD-1B2A-47A8-8D92-6FE6E622A650}" dt="2024-12-16T09:17:12.020" v="17875"/>
          <ac:spMkLst>
            <pc:docMk/>
            <pc:sldMk cId="594020395" sldId="280"/>
            <ac:spMk id="181" creationId="{34AF0572-9A1A-CE38-3B05-E78E068F788B}"/>
          </ac:spMkLst>
        </pc:spChg>
        <pc:spChg chg="add del mod">
          <ac:chgData name="Oğuz Öztekin" userId="33c0df0f-d5fe-4bda-8f43-141ad7af67e3" providerId="ADAL" clId="{48B824AD-1B2A-47A8-8D92-6FE6E622A650}" dt="2024-12-16T09:17:12.020" v="17876"/>
          <ac:spMkLst>
            <pc:docMk/>
            <pc:sldMk cId="594020395" sldId="280"/>
            <ac:spMk id="182" creationId="{464C6E21-D954-3492-D7DD-51161EC1B031}"/>
          </ac:spMkLst>
        </pc:spChg>
        <pc:spChg chg="add del mod">
          <ac:chgData name="Oğuz Öztekin" userId="33c0df0f-d5fe-4bda-8f43-141ad7af67e3" providerId="ADAL" clId="{48B824AD-1B2A-47A8-8D92-6FE6E622A650}" dt="2024-12-16T09:17:12.021" v="17877"/>
          <ac:spMkLst>
            <pc:docMk/>
            <pc:sldMk cId="594020395" sldId="280"/>
            <ac:spMk id="183" creationId="{AEE74517-BF1E-AAA2-0319-C22B0FAB9FEF}"/>
          </ac:spMkLst>
        </pc:spChg>
        <pc:spChg chg="add del mod">
          <ac:chgData name="Oğuz Öztekin" userId="33c0df0f-d5fe-4bda-8f43-141ad7af67e3" providerId="ADAL" clId="{48B824AD-1B2A-47A8-8D92-6FE6E622A650}" dt="2024-12-16T09:17:12.021" v="17878"/>
          <ac:spMkLst>
            <pc:docMk/>
            <pc:sldMk cId="594020395" sldId="280"/>
            <ac:spMk id="184" creationId="{5D608B1E-ABFD-8A09-255B-E8EA2237C9A1}"/>
          </ac:spMkLst>
        </pc:spChg>
        <pc:spChg chg="add del mod">
          <ac:chgData name="Oğuz Öztekin" userId="33c0df0f-d5fe-4bda-8f43-141ad7af67e3" providerId="ADAL" clId="{48B824AD-1B2A-47A8-8D92-6FE6E622A650}" dt="2024-12-16T09:17:12.021" v="17879"/>
          <ac:spMkLst>
            <pc:docMk/>
            <pc:sldMk cId="594020395" sldId="280"/>
            <ac:spMk id="185" creationId="{9FC7F473-F5C0-2880-0482-D554AFB09526}"/>
          </ac:spMkLst>
        </pc:spChg>
        <pc:spChg chg="add del mod modVis">
          <ac:chgData name="Oğuz Öztekin" userId="33c0df0f-d5fe-4bda-8f43-141ad7af67e3" providerId="ADAL" clId="{48B824AD-1B2A-47A8-8D92-6FE6E622A650}" dt="2024-12-16T09:17:12.053" v="17915"/>
          <ac:spMkLst>
            <pc:docMk/>
            <pc:sldMk cId="594020395" sldId="280"/>
            <ac:spMk id="187" creationId="{F057C1F5-E293-944C-C492-38F68A47FE18}"/>
          </ac:spMkLst>
        </pc:spChg>
        <pc:spChg chg="del">
          <ac:chgData name="Oğuz Öztekin" userId="33c0df0f-d5fe-4bda-8f43-141ad7af67e3" providerId="ADAL" clId="{48B824AD-1B2A-47A8-8D92-6FE6E622A650}" dt="2024-12-16T09:11:58.822" v="9643"/>
          <ac:spMkLst>
            <pc:docMk/>
            <pc:sldMk cId="594020395" sldId="280"/>
            <ac:spMk id="191" creationId="{6B3CCA0E-A0BF-0922-0284-96A0D5DD03EB}"/>
          </ac:spMkLst>
        </pc:spChg>
        <pc:spChg chg="del">
          <ac:chgData name="Oğuz Öztekin" userId="33c0df0f-d5fe-4bda-8f43-141ad7af67e3" providerId="ADAL" clId="{48B824AD-1B2A-47A8-8D92-6FE6E622A650}" dt="2024-12-16T09:11:58.823" v="9646"/>
          <ac:spMkLst>
            <pc:docMk/>
            <pc:sldMk cId="594020395" sldId="280"/>
            <ac:spMk id="192" creationId="{3786ECD7-82C4-383A-5F60-6B1D8941C134}"/>
          </ac:spMkLst>
        </pc:spChg>
        <pc:spChg chg="add del mod modVis">
          <ac:chgData name="Oğuz Öztekin" userId="33c0df0f-d5fe-4bda-8f43-141ad7af67e3" providerId="ADAL" clId="{48B824AD-1B2A-47A8-8D92-6FE6E622A650}" dt="2024-12-16T09:12:30.867" v="11073"/>
          <ac:spMkLst>
            <pc:docMk/>
            <pc:sldMk cId="594020395" sldId="280"/>
            <ac:spMk id="224" creationId="{7D6C6A39-7AD9-FF9B-B80B-F064C2C9105F}"/>
          </ac:spMkLst>
        </pc:spChg>
        <pc:spChg chg="add del mod modVis">
          <ac:chgData name="Oğuz Öztekin" userId="33c0df0f-d5fe-4bda-8f43-141ad7af67e3" providerId="ADAL" clId="{48B824AD-1B2A-47A8-8D92-6FE6E622A650}" dt="2024-12-16T09:12:33.537" v="11177"/>
          <ac:spMkLst>
            <pc:docMk/>
            <pc:sldMk cId="594020395" sldId="280"/>
            <ac:spMk id="226" creationId="{1A237EB7-0A81-FE21-2EAA-A3FF9B3AFAAA}"/>
          </ac:spMkLst>
        </pc:spChg>
        <pc:spChg chg="add del mod modVis">
          <ac:chgData name="Oğuz Öztekin" userId="33c0df0f-d5fe-4bda-8f43-141ad7af67e3" providerId="ADAL" clId="{48B824AD-1B2A-47A8-8D92-6FE6E622A650}" dt="2024-12-16T09:12:35.159" v="11269"/>
          <ac:spMkLst>
            <pc:docMk/>
            <pc:sldMk cId="594020395" sldId="280"/>
            <ac:spMk id="228" creationId="{5973651B-568B-7312-DA1B-E760F711CDF4}"/>
          </ac:spMkLst>
        </pc:spChg>
        <pc:spChg chg="add del mod modVis">
          <ac:chgData name="Oğuz Öztekin" userId="33c0df0f-d5fe-4bda-8f43-141ad7af67e3" providerId="ADAL" clId="{48B824AD-1B2A-47A8-8D92-6FE6E622A650}" dt="2024-12-16T09:12:44.538" v="11363"/>
          <ac:spMkLst>
            <pc:docMk/>
            <pc:sldMk cId="594020395" sldId="280"/>
            <ac:spMk id="230" creationId="{DABBFFFC-1496-1B54-8603-EFC10F02FBF4}"/>
          </ac:spMkLst>
        </pc:spChg>
        <pc:spChg chg="add del mod modVis">
          <ac:chgData name="Oğuz Öztekin" userId="33c0df0f-d5fe-4bda-8f43-141ad7af67e3" providerId="ADAL" clId="{48B824AD-1B2A-47A8-8D92-6FE6E622A650}" dt="2024-12-16T09:12:47.082" v="11447"/>
          <ac:spMkLst>
            <pc:docMk/>
            <pc:sldMk cId="594020395" sldId="280"/>
            <ac:spMk id="232" creationId="{2F999B16-0E4C-5803-FC14-79E1E5AF049F}"/>
          </ac:spMkLst>
        </pc:spChg>
        <pc:spChg chg="add del mod modVis">
          <ac:chgData name="Oğuz Öztekin" userId="33c0df0f-d5fe-4bda-8f43-141ad7af67e3" providerId="ADAL" clId="{48B824AD-1B2A-47A8-8D92-6FE6E622A650}" dt="2024-12-16T09:12:50.662" v="11547"/>
          <ac:spMkLst>
            <pc:docMk/>
            <pc:sldMk cId="594020395" sldId="280"/>
            <ac:spMk id="234" creationId="{7A87CCBA-1343-9209-AD56-28C971344F32}"/>
          </ac:spMkLst>
        </pc:spChg>
        <pc:spChg chg="add del mod modVis">
          <ac:chgData name="Oğuz Öztekin" userId="33c0df0f-d5fe-4bda-8f43-141ad7af67e3" providerId="ADAL" clId="{48B824AD-1B2A-47A8-8D92-6FE6E622A650}" dt="2024-12-16T09:12:53.061" v="11686"/>
          <ac:spMkLst>
            <pc:docMk/>
            <pc:sldMk cId="594020395" sldId="280"/>
            <ac:spMk id="236" creationId="{91ECD388-19C0-23FE-3D09-C25B40E91F65}"/>
          </ac:spMkLst>
        </pc:spChg>
        <pc:spChg chg="add del mod">
          <ac:chgData name="Oğuz Öztekin" userId="33c0df0f-d5fe-4bda-8f43-141ad7af67e3" providerId="ADAL" clId="{48B824AD-1B2A-47A8-8D92-6FE6E622A650}" dt="2024-12-16T09:12:54.740" v="11742"/>
          <ac:spMkLst>
            <pc:docMk/>
            <pc:sldMk cId="594020395" sldId="280"/>
            <ac:spMk id="237" creationId="{02E780F6-6345-B8A8-56C0-080D099A4CC9}"/>
          </ac:spMkLst>
        </pc:spChg>
        <pc:spChg chg="add del mod modVis">
          <ac:chgData name="Oğuz Öztekin" userId="33c0df0f-d5fe-4bda-8f43-141ad7af67e3" providerId="ADAL" clId="{48B824AD-1B2A-47A8-8D92-6FE6E622A650}" dt="2024-12-16T09:12:54.762" v="11768"/>
          <ac:spMkLst>
            <pc:docMk/>
            <pc:sldMk cId="594020395" sldId="280"/>
            <ac:spMk id="239" creationId="{6F20D782-7F84-FE17-C60A-B873F960E1E5}"/>
          </ac:spMkLst>
        </pc:spChg>
        <pc:spChg chg="add del mod modVis">
          <ac:chgData name="Oğuz Öztekin" userId="33c0df0f-d5fe-4bda-8f43-141ad7af67e3" providerId="ADAL" clId="{48B824AD-1B2A-47A8-8D92-6FE6E622A650}" dt="2024-12-16T09:12:56.542" v="11848"/>
          <ac:spMkLst>
            <pc:docMk/>
            <pc:sldMk cId="594020395" sldId="280"/>
            <ac:spMk id="241" creationId="{28212591-0267-BF47-B075-68A52F782694}"/>
          </ac:spMkLst>
        </pc:spChg>
        <pc:spChg chg="add del mod modVis">
          <ac:chgData name="Oğuz Öztekin" userId="33c0df0f-d5fe-4bda-8f43-141ad7af67e3" providerId="ADAL" clId="{48B824AD-1B2A-47A8-8D92-6FE6E622A650}" dt="2024-12-16T09:13:01.673" v="11942"/>
          <ac:spMkLst>
            <pc:docMk/>
            <pc:sldMk cId="594020395" sldId="280"/>
            <ac:spMk id="243" creationId="{0BCED887-54B5-3339-35DD-2DC140F6ADCE}"/>
          </ac:spMkLst>
        </pc:spChg>
        <pc:spChg chg="add del mod modVis">
          <ac:chgData name="Oğuz Öztekin" userId="33c0df0f-d5fe-4bda-8f43-141ad7af67e3" providerId="ADAL" clId="{48B824AD-1B2A-47A8-8D92-6FE6E622A650}" dt="2024-12-16T09:13:05.978" v="12022"/>
          <ac:spMkLst>
            <pc:docMk/>
            <pc:sldMk cId="594020395" sldId="280"/>
            <ac:spMk id="245" creationId="{2835FA9A-37D6-7566-9859-7C704FC9C611}"/>
          </ac:spMkLst>
        </pc:spChg>
        <pc:spChg chg="add del mod modVis">
          <ac:chgData name="Oğuz Öztekin" userId="33c0df0f-d5fe-4bda-8f43-141ad7af67e3" providerId="ADAL" clId="{48B824AD-1B2A-47A8-8D92-6FE6E622A650}" dt="2024-12-16T09:13:15.800" v="12137"/>
          <ac:spMkLst>
            <pc:docMk/>
            <pc:sldMk cId="594020395" sldId="280"/>
            <ac:spMk id="247" creationId="{0D90D123-9998-8916-52FB-EC8ECFD19EF5}"/>
          </ac:spMkLst>
        </pc:spChg>
        <pc:spChg chg="add del mod ord">
          <ac:chgData name="Oğuz Öztekin" userId="33c0df0f-d5fe-4bda-8f43-141ad7af67e3" providerId="ADAL" clId="{48B824AD-1B2A-47A8-8D92-6FE6E622A650}" dt="2024-12-16T09:13:19.438" v="12218"/>
          <ac:spMkLst>
            <pc:docMk/>
            <pc:sldMk cId="594020395" sldId="280"/>
            <ac:spMk id="250" creationId="{ADC7FE6B-71BD-56FF-FF2F-18271D62D969}"/>
          </ac:spMkLst>
        </pc:spChg>
        <pc:spChg chg="add del mod modVis">
          <ac:chgData name="Oğuz Öztekin" userId="33c0df0f-d5fe-4bda-8f43-141ad7af67e3" providerId="ADAL" clId="{48B824AD-1B2A-47A8-8D92-6FE6E622A650}" dt="2024-12-16T09:13:19.442" v="12237"/>
          <ac:spMkLst>
            <pc:docMk/>
            <pc:sldMk cId="594020395" sldId="280"/>
            <ac:spMk id="251" creationId="{2E15C042-6BFB-3EB7-F9E1-E168A37592F9}"/>
          </ac:spMkLst>
        </pc:spChg>
        <pc:spChg chg="add del mod modVis">
          <ac:chgData name="Oğuz Öztekin" userId="33c0df0f-d5fe-4bda-8f43-141ad7af67e3" providerId="ADAL" clId="{48B824AD-1B2A-47A8-8D92-6FE6E622A650}" dt="2024-12-16T09:13:22.553" v="12331"/>
          <ac:spMkLst>
            <pc:docMk/>
            <pc:sldMk cId="594020395" sldId="280"/>
            <ac:spMk id="253" creationId="{B069B16F-D3A3-13BD-DC3A-FADD089BBE89}"/>
          </ac:spMkLst>
        </pc:spChg>
        <pc:spChg chg="add del mod modVis">
          <ac:chgData name="Oğuz Öztekin" userId="33c0df0f-d5fe-4bda-8f43-141ad7af67e3" providerId="ADAL" clId="{48B824AD-1B2A-47A8-8D92-6FE6E622A650}" dt="2024-12-16T09:13:33.164" v="12463"/>
          <ac:spMkLst>
            <pc:docMk/>
            <pc:sldMk cId="594020395" sldId="280"/>
            <ac:spMk id="255" creationId="{051205A2-C8F0-3EBA-292B-AF660435269A}"/>
          </ac:spMkLst>
        </pc:spChg>
        <pc:graphicFrameChg chg="mod">
          <ac:chgData name="Oğuz Öztekin" userId="33c0df0f-d5fe-4bda-8f43-141ad7af67e3" providerId="ADAL" clId="{48B824AD-1B2A-47A8-8D92-6FE6E622A650}" dt="2024-12-16T09:17:12.055" v="17917"/>
          <ac:graphicFrameMkLst>
            <pc:docMk/>
            <pc:sldMk cId="594020395" sldId="280"/>
            <ac:graphicFrameMk id="3" creationId="{9471CF8A-CAF2-6EBA-5368-90434991C2A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15.490" v="9885"/>
          <ac:graphicFrameMkLst>
            <pc:docMk/>
            <pc:sldMk cId="594020395" sldId="280"/>
            <ac:graphicFrameMk id="5" creationId="{F597DE37-69B8-7928-9B80-2125542CBE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18.168" v="9971"/>
          <ac:graphicFrameMkLst>
            <pc:docMk/>
            <pc:sldMk cId="594020395" sldId="280"/>
            <ac:graphicFrameMk id="7" creationId="{3397E2E5-352E-A122-8E32-FDD5E8B676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3.904" v="10051"/>
          <ac:graphicFrameMkLst>
            <pc:docMk/>
            <pc:sldMk cId="594020395" sldId="280"/>
            <ac:graphicFrameMk id="9" creationId="{CB9C48AF-839B-7857-DB11-B4FCC30E272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6.904" v="10751"/>
          <ac:graphicFrameMkLst>
            <pc:docMk/>
            <pc:sldMk cId="594020395" sldId="280"/>
            <ac:graphicFrameMk id="11" creationId="{11966F4A-F215-EF8E-CDC8-433E679620A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7.657" v="10883"/>
          <ac:graphicFrameMkLst>
            <pc:docMk/>
            <pc:sldMk cId="594020395" sldId="280"/>
            <ac:graphicFrameMk id="27" creationId="{67F302B1-9772-0000-8909-245B4CC031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8.999" v="10967"/>
          <ac:graphicFrameMkLst>
            <pc:docMk/>
            <pc:sldMk cId="594020395" sldId="280"/>
            <ac:graphicFrameMk id="29" creationId="{0A75054C-6385-0E94-7E25-80F93054CB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0.850" v="11049"/>
          <ac:graphicFrameMkLst>
            <pc:docMk/>
            <pc:sldMk cId="594020395" sldId="280"/>
            <ac:graphicFrameMk id="31" creationId="{FAA878FA-9B8B-34D8-B31B-CB832121C67C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3:33.164" v="12463"/>
          <ac:graphicFrameMkLst>
            <pc:docMk/>
            <pc:sldMk cId="594020395" sldId="280"/>
            <ac:graphicFrameMk id="33" creationId="{4A0493F6-D6B8-2BEA-005F-B25A2BF94E4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56.935" v="12793"/>
          <ac:graphicFrameMkLst>
            <pc:docMk/>
            <pc:sldMk cId="594020395" sldId="280"/>
            <ac:graphicFrameMk id="40" creationId="{482AABED-A10B-DA22-31DD-77EA26BFB8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04.896" v="12919"/>
          <ac:graphicFrameMkLst>
            <pc:docMk/>
            <pc:sldMk cId="594020395" sldId="280"/>
            <ac:graphicFrameMk id="43" creationId="{34B422DC-6964-B9C2-EED3-A161AD94F14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07.654" v="13045"/>
          <ac:graphicFrameMkLst>
            <pc:docMk/>
            <pc:sldMk cId="594020395" sldId="280"/>
            <ac:graphicFrameMk id="45" creationId="{979F9DDD-2B67-9CD0-CD7A-58354D6839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12.146" v="13193"/>
          <ac:graphicFrameMkLst>
            <pc:docMk/>
            <pc:sldMk cId="594020395" sldId="280"/>
            <ac:graphicFrameMk id="47" creationId="{188B0A67-591F-A044-EB38-18E93AADDE4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15.533" v="13367"/>
          <ac:graphicFrameMkLst>
            <pc:docMk/>
            <pc:sldMk cId="594020395" sldId="280"/>
            <ac:graphicFrameMk id="49" creationId="{0E9B360B-B2D7-3EEB-1586-48ABFA5C153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3.178" v="13472"/>
          <ac:graphicFrameMkLst>
            <pc:docMk/>
            <pc:sldMk cId="594020395" sldId="280"/>
            <ac:graphicFrameMk id="54" creationId="{690C23D3-02AC-8F46-915B-3D072F2F331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5.640" v="13577"/>
          <ac:graphicFrameMkLst>
            <pc:docMk/>
            <pc:sldMk cId="594020395" sldId="280"/>
            <ac:graphicFrameMk id="56" creationId="{3192E547-2CB7-3E20-60F1-551E10E57E9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6.218" v="13682"/>
          <ac:graphicFrameMkLst>
            <pc:docMk/>
            <pc:sldMk cId="594020395" sldId="280"/>
            <ac:graphicFrameMk id="58" creationId="{2B5E1477-E1BF-3B37-11FE-CC0777F8D6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7.248" v="13787"/>
          <ac:graphicFrameMkLst>
            <pc:docMk/>
            <pc:sldMk cId="594020395" sldId="280"/>
            <ac:graphicFrameMk id="60" creationId="{FA9E153F-99E1-AE38-7F69-2D2FBCA2359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34.637" v="13907"/>
          <ac:graphicFrameMkLst>
            <pc:docMk/>
            <pc:sldMk cId="594020395" sldId="280"/>
            <ac:graphicFrameMk id="62" creationId="{6C3B0E19-167F-AC3B-3759-A4639FD6F9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42.671" v="14019"/>
          <ac:graphicFrameMkLst>
            <pc:docMk/>
            <pc:sldMk cId="594020395" sldId="280"/>
            <ac:graphicFrameMk id="64" creationId="{70066F89-3225-FFCB-3B97-0CEB4617174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56.431" v="14139"/>
          <ac:graphicFrameMkLst>
            <pc:docMk/>
            <pc:sldMk cId="594020395" sldId="280"/>
            <ac:graphicFrameMk id="66" creationId="{C584D0C0-FB58-2BFA-909C-C93618D2DA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59.434" v="14272"/>
          <ac:graphicFrameMkLst>
            <pc:docMk/>
            <pc:sldMk cId="594020395" sldId="280"/>
            <ac:graphicFrameMk id="68" creationId="{51A14197-7D74-AFB5-A283-239506DC2F6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26.622" v="14470"/>
          <ac:graphicFrameMkLst>
            <pc:docMk/>
            <pc:sldMk cId="594020395" sldId="280"/>
            <ac:graphicFrameMk id="70" creationId="{5C4A418C-7331-29E6-2AE0-7B0E0D584EC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35.716" v="15052"/>
          <ac:graphicFrameMkLst>
            <pc:docMk/>
            <pc:sldMk cId="594020395" sldId="280"/>
            <ac:graphicFrameMk id="76" creationId="{2C7EF3FE-DF11-624D-B4E4-83E06BB59873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5:31.803" v="14797"/>
          <ac:graphicFrameMkLst>
            <pc:docMk/>
            <pc:sldMk cId="594020395" sldId="280"/>
            <ac:graphicFrameMk id="78" creationId="{27D75786-8D92-4F1A-008C-D511452E6E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41.495" v="15236"/>
          <ac:graphicFrameMkLst>
            <pc:docMk/>
            <pc:sldMk cId="594020395" sldId="280"/>
            <ac:graphicFrameMk id="80" creationId="{735A2FCB-94EA-2CEB-F562-60D96B0A13E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44.515" v="15420"/>
          <ac:graphicFrameMkLst>
            <pc:docMk/>
            <pc:sldMk cId="594020395" sldId="280"/>
            <ac:graphicFrameMk id="82" creationId="{3B86262E-9333-17BC-409B-23517A6869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0.270" v="15531"/>
          <ac:graphicFrameMkLst>
            <pc:docMk/>
            <pc:sldMk cId="594020395" sldId="280"/>
            <ac:graphicFrameMk id="84" creationId="{17F51D5F-C06B-4AA0-755E-835C591145C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5.511" v="15687"/>
          <ac:graphicFrameMkLst>
            <pc:docMk/>
            <pc:sldMk cId="594020395" sldId="280"/>
            <ac:graphicFrameMk id="93" creationId="{6F434414-2F11-46E2-89F5-5BF841A4E8F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7.657" v="15856"/>
          <ac:graphicFrameMkLst>
            <pc:docMk/>
            <pc:sldMk cId="594020395" sldId="280"/>
            <ac:graphicFrameMk id="95" creationId="{BCF51403-59F3-627A-5E68-384A3B3C302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00.774" v="16049"/>
          <ac:graphicFrameMkLst>
            <pc:docMk/>
            <pc:sldMk cId="594020395" sldId="280"/>
            <ac:graphicFrameMk id="161" creationId="{E0C4C361-C3A3-FAC1-644E-F4F2B13D2E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08.363" v="16285"/>
          <ac:graphicFrameMkLst>
            <pc:docMk/>
            <pc:sldMk cId="594020395" sldId="280"/>
            <ac:graphicFrameMk id="163" creationId="{179F2429-C012-0DD1-1940-EEBD8C8B376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3.093" v="16478"/>
          <ac:graphicFrameMkLst>
            <pc:docMk/>
            <pc:sldMk cId="594020395" sldId="280"/>
            <ac:graphicFrameMk id="165" creationId="{BDE60E64-61C0-C2CB-4115-A7B026B3032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4.945" v="16614"/>
          <ac:graphicFrameMkLst>
            <pc:docMk/>
            <pc:sldMk cId="594020395" sldId="280"/>
            <ac:graphicFrameMk id="167" creationId="{C0E5826D-DF9C-B0C7-4BC1-1BEEC8968DA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7.830" v="16775"/>
          <ac:graphicFrameMkLst>
            <pc:docMk/>
            <pc:sldMk cId="594020395" sldId="280"/>
            <ac:graphicFrameMk id="169" creationId="{DCD6E7DD-B679-A03A-A33C-F959FD6128F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20.162" v="16949"/>
          <ac:graphicFrameMkLst>
            <pc:docMk/>
            <pc:sldMk cId="594020395" sldId="280"/>
            <ac:graphicFrameMk id="171" creationId="{6DD5058B-481B-ED27-BC29-C652F96F349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22.855" v="17107"/>
          <ac:graphicFrameMkLst>
            <pc:docMk/>
            <pc:sldMk cId="594020395" sldId="280"/>
            <ac:graphicFrameMk id="173" creationId="{DBB16C87-67BF-396C-2FAA-E76CA3E4D3F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57.189" v="17440"/>
          <ac:graphicFrameMkLst>
            <pc:docMk/>
            <pc:sldMk cId="594020395" sldId="280"/>
            <ac:graphicFrameMk id="175" creationId="{7B537A09-FDF8-FAC9-569D-25AD8C53D469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6:27.924" v="17287"/>
          <ac:graphicFrameMkLst>
            <pc:docMk/>
            <pc:sldMk cId="594020395" sldId="280"/>
            <ac:graphicFrameMk id="177" creationId="{E4DB16BD-CB37-A6B8-D517-7A316B258F8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10.696" v="17767"/>
          <ac:graphicFrameMkLst>
            <pc:docMk/>
            <pc:sldMk cId="594020395" sldId="280"/>
            <ac:graphicFrameMk id="179" creationId="{6EF46033-2F0D-B0DA-124B-D13790A8190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12.026" v="17882"/>
          <ac:graphicFrameMkLst>
            <pc:docMk/>
            <pc:sldMk cId="594020395" sldId="280"/>
            <ac:graphicFrameMk id="186" creationId="{49352FB7-559F-0648-014B-769FF51B5B71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7:12.041" v="17891"/>
          <ac:graphicFrameMkLst>
            <pc:docMk/>
            <pc:sldMk cId="594020395" sldId="280"/>
            <ac:graphicFrameMk id="188" creationId="{278139D3-6CE8-2DA6-CF73-8F1934249C1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3.520" v="11153"/>
          <ac:graphicFrameMkLst>
            <pc:docMk/>
            <pc:sldMk cId="594020395" sldId="280"/>
            <ac:graphicFrameMk id="225" creationId="{26802ECE-0628-DE43-4EFF-F72F260140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5.141" v="11245"/>
          <ac:graphicFrameMkLst>
            <pc:docMk/>
            <pc:sldMk cId="594020395" sldId="280"/>
            <ac:graphicFrameMk id="227" creationId="{776B0521-E341-A9CC-6E55-3D549C680B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44.522" v="11339"/>
          <ac:graphicFrameMkLst>
            <pc:docMk/>
            <pc:sldMk cId="594020395" sldId="280"/>
            <ac:graphicFrameMk id="229" creationId="{86F4D581-59F4-E2E0-6F24-B7E9412EB9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47.065" v="11423"/>
          <ac:graphicFrameMkLst>
            <pc:docMk/>
            <pc:sldMk cId="594020395" sldId="280"/>
            <ac:graphicFrameMk id="231" creationId="{97A71E5B-A1D0-31CE-C21A-21DB4A40DBC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0.644" v="11523"/>
          <ac:graphicFrameMkLst>
            <pc:docMk/>
            <pc:sldMk cId="594020395" sldId="280"/>
            <ac:graphicFrameMk id="233" creationId="{4CE33D69-27A4-0422-94D5-DA56967B46B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3.035" v="11651"/>
          <ac:graphicFrameMkLst>
            <pc:docMk/>
            <pc:sldMk cId="594020395" sldId="280"/>
            <ac:graphicFrameMk id="235" creationId="{0F62C9B9-E487-872A-A302-3EDEC482BE0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4.741" v="11744"/>
          <ac:graphicFrameMkLst>
            <pc:docMk/>
            <pc:sldMk cId="594020395" sldId="280"/>
            <ac:graphicFrameMk id="238" creationId="{B02687FB-C87B-A128-2796-1966C948BC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6.523" v="11824"/>
          <ac:graphicFrameMkLst>
            <pc:docMk/>
            <pc:sldMk cId="594020395" sldId="280"/>
            <ac:graphicFrameMk id="240" creationId="{9ACE674D-70F9-9E55-AC5C-EB26A7AA563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01.650" v="11904"/>
          <ac:graphicFrameMkLst>
            <pc:docMk/>
            <pc:sldMk cId="594020395" sldId="280"/>
            <ac:graphicFrameMk id="242" creationId="{F04D1C49-F056-1585-2964-401B119969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05.960" v="11998"/>
          <ac:graphicFrameMkLst>
            <pc:docMk/>
            <pc:sldMk cId="594020395" sldId="280"/>
            <ac:graphicFrameMk id="244" creationId="{9B6BE294-E793-0BD2-FDA9-DE725ECB902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15.771" v="12078"/>
          <ac:graphicFrameMkLst>
            <pc:docMk/>
            <pc:sldMk cId="594020395" sldId="280"/>
            <ac:graphicFrameMk id="246" creationId="{B1D91329-F6F8-9635-9A28-BB8B5F243F9A}"/>
          </ac:graphicFrameMkLst>
        </pc:graphicFrameChg>
        <pc:graphicFrameChg chg="del">
          <ac:chgData name="Oğuz Öztekin" userId="33c0df0f-d5fe-4bda-8f43-141ad7af67e3" providerId="ADAL" clId="{48B824AD-1B2A-47A8-8D92-6FE6E622A650}" dt="2024-12-16T09:11:58.936" v="9784"/>
          <ac:graphicFrameMkLst>
            <pc:docMk/>
            <pc:sldMk cId="594020395" sldId="280"/>
            <ac:graphicFrameMk id="248" creationId="{EE42CB26-C10E-C18F-5188-9169007068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19.418" v="12193"/>
          <ac:graphicFrameMkLst>
            <pc:docMk/>
            <pc:sldMk cId="594020395" sldId="280"/>
            <ac:graphicFrameMk id="249" creationId="{02AEBB6C-439E-6C1A-B125-C2829422BFC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22.529" v="12293"/>
          <ac:graphicFrameMkLst>
            <pc:docMk/>
            <pc:sldMk cId="594020395" sldId="280"/>
            <ac:graphicFrameMk id="252" creationId="{6F42BD26-7164-4EE4-35BC-F4B5FC03DF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49.752" v="12667"/>
          <ac:graphicFrameMkLst>
            <pc:docMk/>
            <pc:sldMk cId="594020395" sldId="280"/>
            <ac:graphicFrameMk id="254" creationId="{B0425EDE-BD60-7A75-FD7D-5AD49F8AD61B}"/>
          </ac:graphicFrameMkLst>
        </pc:graphicFrameChg>
        <pc:cxnChg chg="add del mod ord">
          <ac:chgData name="Oğuz Öztekin" userId="33c0df0f-d5fe-4bda-8f43-141ad7af67e3" providerId="ADAL" clId="{48B824AD-1B2A-47A8-8D92-6FE6E622A650}" dt="2024-12-16T09:15:50.228" v="15474"/>
          <ac:cxnSpMkLst>
            <pc:docMk/>
            <pc:sldMk cId="594020395" sldId="280"/>
            <ac:cxnSpMk id="39" creationId="{9DF10AA0-8691-4B3F-9718-D1B969A16231}"/>
          </ac:cxnSpMkLst>
        </pc:cxnChg>
        <pc:cxnChg chg="del mod ord">
          <ac:chgData name="Oğuz Öztekin" userId="33c0df0f-d5fe-4bda-8f43-141ad7af67e3" providerId="ADAL" clId="{48B824AD-1B2A-47A8-8D92-6FE6E622A650}" dt="2024-12-16T09:13:36.786" v="12467"/>
          <ac:cxnSpMkLst>
            <pc:docMk/>
            <pc:sldMk cId="594020395" sldId="280"/>
            <ac:cxnSpMk id="42" creationId="{3B15E158-7370-44CA-6CB6-4CAADF41DB0A}"/>
          </ac:cxnSpMkLst>
        </pc:cxnChg>
        <pc:cxnChg chg="add mod ord">
          <ac:chgData name="Oğuz Öztekin" userId="33c0df0f-d5fe-4bda-8f43-141ad7af67e3" providerId="ADAL" clId="{48B824AD-1B2A-47A8-8D92-6FE6E622A650}" dt="2024-12-16T09:17:12.044" v="17900"/>
          <ac:cxnSpMkLst>
            <pc:docMk/>
            <pc:sldMk cId="594020395" sldId="280"/>
            <ac:cxnSpMk id="53" creationId="{2875D970-3812-1F62-D9C4-AAC585971062}"/>
          </ac:cxnSpMkLst>
        </pc:cxnChg>
        <pc:cxnChg chg="add mod ord">
          <ac:chgData name="Oğuz Öztekin" userId="33c0df0f-d5fe-4bda-8f43-141ad7af67e3" providerId="ADAL" clId="{48B824AD-1B2A-47A8-8D92-6FE6E622A650}" dt="2024-12-16T09:17:12.042" v="17893"/>
          <ac:cxnSpMkLst>
            <pc:docMk/>
            <pc:sldMk cId="594020395" sldId="280"/>
            <ac:cxnSpMk id="73" creationId="{8C5FA7D5-0E7B-A16C-9F4E-1ED6241A3919}"/>
          </ac:cxnSpMkLst>
        </pc:cxnChg>
        <pc:cxnChg chg="add mod ord">
          <ac:chgData name="Oğuz Öztekin" userId="33c0df0f-d5fe-4bda-8f43-141ad7af67e3" providerId="ADAL" clId="{48B824AD-1B2A-47A8-8D92-6FE6E622A650}" dt="2024-12-16T09:17:12.042" v="17895"/>
          <ac:cxnSpMkLst>
            <pc:docMk/>
            <pc:sldMk cId="594020395" sldId="280"/>
            <ac:cxnSpMk id="74" creationId="{49375BB7-EDCC-42B2-18E8-C1FF93477826}"/>
          </ac:cxnSpMkLst>
        </pc:cxnChg>
        <pc:cxnChg chg="add mod ord">
          <ac:chgData name="Oğuz Öztekin" userId="33c0df0f-d5fe-4bda-8f43-141ad7af67e3" providerId="ADAL" clId="{48B824AD-1B2A-47A8-8D92-6FE6E622A650}" dt="2024-12-16T09:17:12.043" v="17897"/>
          <ac:cxnSpMkLst>
            <pc:docMk/>
            <pc:sldMk cId="594020395" sldId="280"/>
            <ac:cxnSpMk id="75" creationId="{07D80620-E2C9-0154-66BB-DEA9F949D7A3}"/>
          </ac:cxnSpMkLst>
        </pc:cxnChg>
        <pc:cxnChg chg="del">
          <ac:chgData name="Oğuz Öztekin" userId="33c0df0f-d5fe-4bda-8f43-141ad7af67e3" providerId="ADAL" clId="{48B824AD-1B2A-47A8-8D92-6FE6E622A650}" dt="2024-12-16T09:11:58.820" v="9642"/>
          <ac:cxnSpMkLst>
            <pc:docMk/>
            <pc:sldMk cId="594020395" sldId="280"/>
            <ac:cxnSpMk id="211" creationId="{5B28F6FD-8223-9192-66E4-D9EAF3DDE415}"/>
          </ac:cxnSpMkLst>
        </pc:cxnChg>
        <pc:cxnChg chg="del">
          <ac:chgData name="Oğuz Öztekin" userId="33c0df0f-d5fe-4bda-8f43-141ad7af67e3" providerId="ADAL" clId="{48B824AD-1B2A-47A8-8D92-6FE6E622A650}" dt="2024-12-16T09:11:58.823" v="9645"/>
          <ac:cxnSpMkLst>
            <pc:docMk/>
            <pc:sldMk cId="594020395" sldId="280"/>
            <ac:cxnSpMk id="212" creationId="{C3885B0F-52C6-0DD7-A81E-F6740FABA76A}"/>
          </ac:cxnSpMkLst>
        </pc:cxnChg>
      </pc:sldChg>
      <pc:sldChg chg="del">
        <pc:chgData name="Oğuz Öztekin" userId="33c0df0f-d5fe-4bda-8f43-141ad7af67e3" providerId="ADAL" clId="{48B824AD-1B2A-47A8-8D92-6FE6E622A650}" dt="2024-12-16T09:07:38.450" v="34" actId="2696"/>
        <pc:sldMkLst>
          <pc:docMk/>
          <pc:sldMk cId="2634187742" sldId="280"/>
        </pc:sldMkLst>
      </pc:sldChg>
      <pc:sldChg chg="del">
        <pc:chgData name="Oğuz Öztekin" userId="33c0df0f-d5fe-4bda-8f43-141ad7af67e3" providerId="ADAL" clId="{48B824AD-1B2A-47A8-8D92-6FE6E622A650}" dt="2024-12-16T09:07:42.439" v="35" actId="2696"/>
        <pc:sldMkLst>
          <pc:docMk/>
          <pc:sldMk cId="221109731" sldId="281"/>
        </pc:sldMkLst>
      </pc:sldChg>
      <pc:sldChg chg="add">
        <pc:chgData name="Oğuz Öztekin" userId="33c0df0f-d5fe-4bda-8f43-141ad7af67e3" providerId="ADAL" clId="{48B824AD-1B2A-47A8-8D92-6FE6E622A650}" dt="2024-12-16T09:19:38.715" v="22150"/>
        <pc:sldMkLst>
          <pc:docMk/>
          <pc:sldMk cId="515243903" sldId="281"/>
        </pc:sldMkLst>
      </pc:sldChg>
      <pc:sldChg chg="del">
        <pc:chgData name="Oğuz Öztekin" userId="33c0df0f-d5fe-4bda-8f43-141ad7af67e3" providerId="ADAL" clId="{48B824AD-1B2A-47A8-8D92-6FE6E622A650}" dt="2024-12-16T09:07:20.462" v="4" actId="2696"/>
        <pc:sldMkLst>
          <pc:docMk/>
          <pc:sldMk cId="173792906" sldId="282"/>
        </pc:sldMkLst>
      </pc:sldChg>
      <pc:sldChg chg="del">
        <pc:chgData name="Oğuz Öztekin" userId="33c0df0f-d5fe-4bda-8f43-141ad7af67e3" providerId="ADAL" clId="{48B824AD-1B2A-47A8-8D92-6FE6E622A650}" dt="2024-12-16T09:07:23.507" v="14" actId="2696"/>
        <pc:sldMkLst>
          <pc:docMk/>
          <pc:sldMk cId="1730444853" sldId="285"/>
        </pc:sldMkLst>
      </pc:sldChg>
      <pc:sldChg chg="del">
        <pc:chgData name="Oğuz Öztekin" userId="33c0df0f-d5fe-4bda-8f43-141ad7af67e3" providerId="ADAL" clId="{48B824AD-1B2A-47A8-8D92-6FE6E622A650}" dt="2024-12-16T09:07:33.481" v="21" actId="2696"/>
        <pc:sldMkLst>
          <pc:docMk/>
          <pc:sldMk cId="2972345480" sldId="286"/>
        </pc:sldMkLst>
      </pc:sldChg>
      <pc:sldChg chg="del">
        <pc:chgData name="Oğuz Öztekin" userId="33c0df0f-d5fe-4bda-8f43-141ad7af67e3" providerId="ADAL" clId="{48B824AD-1B2A-47A8-8D92-6FE6E622A650}" dt="2024-12-16T09:07:32.693" v="18" actId="2696"/>
        <pc:sldMkLst>
          <pc:docMk/>
          <pc:sldMk cId="1173608751" sldId="287"/>
        </pc:sldMkLst>
      </pc:sldChg>
      <pc:sldChg chg="del">
        <pc:chgData name="Oğuz Öztekin" userId="33c0df0f-d5fe-4bda-8f43-141ad7af67e3" providerId="ADAL" clId="{48B824AD-1B2A-47A8-8D92-6FE6E622A650}" dt="2024-12-16T09:07:32.966" v="19" actId="2696"/>
        <pc:sldMkLst>
          <pc:docMk/>
          <pc:sldMk cId="807331676" sldId="288"/>
        </pc:sldMkLst>
      </pc:sldChg>
      <pc:sldChg chg="del">
        <pc:chgData name="Oğuz Öztekin" userId="33c0df0f-d5fe-4bda-8f43-141ad7af67e3" providerId="ADAL" clId="{48B824AD-1B2A-47A8-8D92-6FE6E622A650}" dt="2024-12-16T09:07:33.205" v="20" actId="2696"/>
        <pc:sldMkLst>
          <pc:docMk/>
          <pc:sldMk cId="1381465311" sldId="289"/>
        </pc:sldMkLst>
      </pc:sldChg>
      <pc:sldChg chg="del">
        <pc:chgData name="Oğuz Öztekin" userId="33c0df0f-d5fe-4bda-8f43-141ad7af67e3" providerId="ADAL" clId="{48B824AD-1B2A-47A8-8D92-6FE6E622A650}" dt="2024-12-16T09:07:15.308" v="1" actId="2696"/>
        <pc:sldMkLst>
          <pc:docMk/>
          <pc:sldMk cId="3193571855" sldId="290"/>
        </pc:sldMkLst>
      </pc:sldChg>
      <pc:sldChg chg="del">
        <pc:chgData name="Oğuz Öztekin" userId="33c0df0f-d5fe-4bda-8f43-141ad7af67e3" providerId="ADAL" clId="{48B824AD-1B2A-47A8-8D92-6FE6E622A650}" dt="2024-12-16T09:07:20.861" v="5" actId="2696"/>
        <pc:sldMkLst>
          <pc:docMk/>
          <pc:sldMk cId="1219213586" sldId="291"/>
        </pc:sldMkLst>
      </pc:sldChg>
      <pc:sldChg chg="del">
        <pc:chgData name="Oğuz Öztekin" userId="33c0df0f-d5fe-4bda-8f43-141ad7af67e3" providerId="ADAL" clId="{48B824AD-1B2A-47A8-8D92-6FE6E622A650}" dt="2024-12-16T09:07:31.365" v="15" actId="2696"/>
        <pc:sldMkLst>
          <pc:docMk/>
          <pc:sldMk cId="1169620162" sldId="300"/>
        </pc:sldMkLst>
      </pc:sldChg>
      <pc:sldChg chg="del">
        <pc:chgData name="Oğuz Öztekin" userId="33c0df0f-d5fe-4bda-8f43-141ad7af67e3" providerId="ADAL" clId="{48B824AD-1B2A-47A8-8D92-6FE6E622A650}" dt="2024-12-16T09:07:21.351" v="6" actId="2696"/>
        <pc:sldMkLst>
          <pc:docMk/>
          <pc:sldMk cId="322219125" sldId="301"/>
        </pc:sldMkLst>
      </pc:sldChg>
      <pc:sldChg chg="del">
        <pc:chgData name="Oğuz Öztekin" userId="33c0df0f-d5fe-4bda-8f43-141ad7af67e3" providerId="ADAL" clId="{48B824AD-1B2A-47A8-8D92-6FE6E622A650}" dt="2024-12-16T09:07:21.653" v="7" actId="2696"/>
        <pc:sldMkLst>
          <pc:docMk/>
          <pc:sldMk cId="3347764341" sldId="302"/>
        </pc:sldMkLst>
      </pc:sldChg>
      <pc:sldChg chg="del">
        <pc:chgData name="Oğuz Öztekin" userId="33c0df0f-d5fe-4bda-8f43-141ad7af67e3" providerId="ADAL" clId="{48B824AD-1B2A-47A8-8D92-6FE6E622A650}" dt="2024-12-16T09:07:22.184" v="9" actId="2696"/>
        <pc:sldMkLst>
          <pc:docMk/>
          <pc:sldMk cId="3423456175" sldId="303"/>
        </pc:sldMkLst>
      </pc:sldChg>
      <pc:sldChg chg="del">
        <pc:chgData name="Oğuz Öztekin" userId="33c0df0f-d5fe-4bda-8f43-141ad7af67e3" providerId="ADAL" clId="{48B824AD-1B2A-47A8-8D92-6FE6E622A650}" dt="2024-12-16T09:07:22.444" v="10" actId="2696"/>
        <pc:sldMkLst>
          <pc:docMk/>
          <pc:sldMk cId="4005765948" sldId="304"/>
        </pc:sldMkLst>
      </pc:sldChg>
      <pc:sldChg chg="del">
        <pc:chgData name="Oğuz Öztekin" userId="33c0df0f-d5fe-4bda-8f43-141ad7af67e3" providerId="ADAL" clId="{48B824AD-1B2A-47A8-8D92-6FE6E622A650}" dt="2024-12-16T09:07:22.707" v="11" actId="2696"/>
        <pc:sldMkLst>
          <pc:docMk/>
          <pc:sldMk cId="317251413" sldId="305"/>
        </pc:sldMkLst>
      </pc:sldChg>
      <pc:sldChg chg="del">
        <pc:chgData name="Oğuz Öztekin" userId="33c0df0f-d5fe-4bda-8f43-141ad7af67e3" providerId="ADAL" clId="{48B824AD-1B2A-47A8-8D92-6FE6E622A650}" dt="2024-12-16T09:07:31.739" v="16" actId="2696"/>
        <pc:sldMkLst>
          <pc:docMk/>
          <pc:sldMk cId="1748462351" sldId="307"/>
        </pc:sldMkLst>
      </pc:sldChg>
      <pc:sldChg chg="del">
        <pc:chgData name="Oğuz Öztekin" userId="33c0df0f-d5fe-4bda-8f43-141ad7af67e3" providerId="ADAL" clId="{48B824AD-1B2A-47A8-8D92-6FE6E622A650}" dt="2024-12-16T09:07:21.918" v="8" actId="2696"/>
        <pc:sldMkLst>
          <pc:docMk/>
          <pc:sldMk cId="1747725061" sldId="308"/>
        </pc:sldMkLst>
      </pc:sldChg>
      <pc:sldChg chg="del">
        <pc:chgData name="Oğuz Öztekin" userId="33c0df0f-d5fe-4bda-8f43-141ad7af67e3" providerId="ADAL" clId="{48B824AD-1B2A-47A8-8D92-6FE6E622A650}" dt="2024-12-16T09:07:22.942" v="12" actId="2696"/>
        <pc:sldMkLst>
          <pc:docMk/>
          <pc:sldMk cId="1902639763" sldId="309"/>
        </pc:sldMkLst>
      </pc:sldChg>
      <pc:sldChg chg="del">
        <pc:chgData name="Oğuz Öztekin" userId="33c0df0f-d5fe-4bda-8f43-141ad7af67e3" providerId="ADAL" clId="{48B824AD-1B2A-47A8-8D92-6FE6E622A650}" dt="2024-12-16T09:07:23.260" v="13" actId="2696"/>
        <pc:sldMkLst>
          <pc:docMk/>
          <pc:sldMk cId="3251755664" sldId="310"/>
        </pc:sldMkLst>
      </pc:sldChg>
    </pc:docChg>
  </pc:docChgLst>
  <pc:docChgLst>
    <pc:chgData name="Batuhan Yelseli" userId="S::batuhan.yelseli@fintegral.com.tr::e1126a1f-d490-470b-80e9-57d2ed9dcaf7" providerId="AD" clId="Web-{81B4419E-5722-F022-551A-162271794161}"/>
    <pc:docChg chg="modSld">
      <pc:chgData name="Batuhan Yelseli" userId="S::batuhan.yelseli@fintegral.com.tr::e1126a1f-d490-470b-80e9-57d2ed9dcaf7" providerId="AD" clId="Web-{81B4419E-5722-F022-551A-162271794161}" dt="2024-12-06T10:43:38.258" v="52"/>
      <pc:docMkLst>
        <pc:docMk/>
      </pc:docMkLst>
      <pc:sldChg chg="modSp">
        <pc:chgData name="Batuhan Yelseli" userId="S::batuhan.yelseli@fintegral.com.tr::e1126a1f-d490-470b-80e9-57d2ed9dcaf7" providerId="AD" clId="Web-{81B4419E-5722-F022-551A-162271794161}" dt="2024-12-06T10:43:38.258" v="52"/>
        <pc:sldMkLst>
          <pc:docMk/>
          <pc:sldMk cId="3826332343" sldId="272"/>
        </pc:sldMkLst>
        <pc:graphicFrameChg chg="mod modGraphic">
          <ac:chgData name="Batuhan Yelseli" userId="S::batuhan.yelseli@fintegral.com.tr::e1126a1f-d490-470b-80e9-57d2ed9dcaf7" providerId="AD" clId="Web-{81B4419E-5722-F022-551A-162271794161}" dt="2024-12-06T10:43:38.258" v="52"/>
          <ac:graphicFrameMkLst>
            <pc:docMk/>
            <pc:sldMk cId="3826332343" sldId="272"/>
            <ac:graphicFrameMk id="11" creationId="{D4E86906-139D-83A2-B5DD-E2BE29B5B7E8}"/>
          </ac:graphicFrameMkLst>
        </pc:graphicFrameChg>
      </pc:sldChg>
    </pc:docChg>
  </pc:docChgLst>
  <pc:docChgLst>
    <pc:chgData name="Oğuz Öztekin" userId="33c0df0f-d5fe-4bda-8f43-141ad7af67e3" providerId="ADAL" clId="{7671717B-C626-45BA-B33A-078C0D9E0397}"/>
    <pc:docChg chg="undo custSel addSld delSld modSld">
      <pc:chgData name="Oğuz Öztekin" userId="33c0df0f-d5fe-4bda-8f43-141ad7af67e3" providerId="ADAL" clId="{7671717B-C626-45BA-B33A-078C0D9E0397}" dt="2024-12-13T10:12:40.936" v="1424" actId="1076"/>
      <pc:docMkLst>
        <pc:docMk/>
      </pc:docMkLst>
      <pc:sldChg chg="modSp mod">
        <pc:chgData name="Oğuz Öztekin" userId="33c0df0f-d5fe-4bda-8f43-141ad7af67e3" providerId="ADAL" clId="{7671717B-C626-45BA-B33A-078C0D9E0397}" dt="2024-12-12T06:31:00.429" v="640" actId="20577"/>
        <pc:sldMkLst>
          <pc:docMk/>
          <pc:sldMk cId="3866243125" sldId="265"/>
        </pc:sldMkLst>
        <pc:spChg chg="mod">
          <ac:chgData name="Oğuz Öztekin" userId="33c0df0f-d5fe-4bda-8f43-141ad7af67e3" providerId="ADAL" clId="{7671717B-C626-45BA-B33A-078C0D9E0397}" dt="2024-12-12T06:31:00.429" v="640" actId="20577"/>
          <ac:spMkLst>
            <pc:docMk/>
            <pc:sldMk cId="3866243125" sldId="265"/>
            <ac:spMk id="5" creationId="{9D6203CA-6F42-C419-8F75-E67705ED2CC5}"/>
          </ac:spMkLst>
        </pc:spChg>
      </pc:sldChg>
      <pc:sldChg chg="addSp delSp modSp mod">
        <pc:chgData name="Oğuz Öztekin" userId="33c0df0f-d5fe-4bda-8f43-141ad7af67e3" providerId="ADAL" clId="{7671717B-C626-45BA-B33A-078C0D9E0397}" dt="2024-12-12T11:46:30.259" v="1123" actId="21"/>
        <pc:sldMkLst>
          <pc:docMk/>
          <pc:sldMk cId="173792906" sldId="282"/>
        </pc:sldMkLst>
        <pc:spChg chg="add mod">
          <ac:chgData name="Oğuz Öztekin" userId="33c0df0f-d5fe-4bda-8f43-141ad7af67e3" providerId="ADAL" clId="{7671717B-C626-45BA-B33A-078C0D9E0397}" dt="2024-12-11T08:21:01.048" v="129" actId="20577"/>
          <ac:spMkLst>
            <pc:docMk/>
            <pc:sldMk cId="173792906" sldId="282"/>
            <ac:spMk id="3" creationId="{AA432986-BE33-C2A5-521B-A1B8AE172037}"/>
          </ac:spMkLst>
        </pc:spChg>
        <pc:spChg chg="add del mod">
          <ac:chgData name="Oğuz Öztekin" userId="33c0df0f-d5fe-4bda-8f43-141ad7af67e3" providerId="ADAL" clId="{7671717B-C626-45BA-B33A-078C0D9E0397}" dt="2024-12-12T10:20:34.965" v="645" actId="21"/>
          <ac:spMkLst>
            <pc:docMk/>
            <pc:sldMk cId="173792906" sldId="282"/>
            <ac:spMk id="4" creationId="{7E73011F-CC02-630B-8AC4-38EACC13EBC3}"/>
          </ac:spMkLst>
        </pc:spChg>
        <pc:spChg chg="add del mod">
          <ac:chgData name="Oğuz Öztekin" userId="33c0df0f-d5fe-4bda-8f43-141ad7af67e3" providerId="ADAL" clId="{7671717B-C626-45BA-B33A-078C0D9E0397}" dt="2024-12-12T11:46:11.880" v="1121" actId="478"/>
          <ac:spMkLst>
            <pc:docMk/>
            <pc:sldMk cId="173792906" sldId="282"/>
            <ac:spMk id="5" creationId="{8D914578-CD68-8277-980B-C821806E4F5B}"/>
          </ac:spMkLst>
        </pc:spChg>
        <pc:spChg chg="mod">
          <ac:chgData name="Oğuz Öztekin" userId="33c0df0f-d5fe-4bda-8f43-141ad7af67e3" providerId="ADAL" clId="{7671717B-C626-45BA-B33A-078C0D9E0397}" dt="2024-12-11T08:49:06.458" v="320" actId="404"/>
          <ac:spMkLst>
            <pc:docMk/>
            <pc:sldMk cId="173792906" sldId="282"/>
            <ac:spMk id="17" creationId="{89662DE6-4341-CDF2-B39E-79FEB5FFF5F9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2" creationId="{28D9B5E8-8955-AAD7-B852-46635913F1CF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3" creationId="{30954708-0DAB-0356-2C83-28A99F16B070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4" creationId="{0EE67AC4-53A4-DAAB-AC16-1E206A55B678}"/>
          </ac:spMkLst>
        </pc:spChg>
        <pc:spChg chg="mod">
          <ac:chgData name="Oğuz Öztekin" userId="33c0df0f-d5fe-4bda-8f43-141ad7af67e3" providerId="ADAL" clId="{7671717B-C626-45BA-B33A-078C0D9E0397}" dt="2024-12-11T10:59:22.755" v="602" actId="120"/>
          <ac:spMkLst>
            <pc:docMk/>
            <pc:sldMk cId="173792906" sldId="282"/>
            <ac:spMk id="26" creationId="{9B7FA586-2C05-8591-D029-3B25481E7444}"/>
          </ac:spMkLst>
        </pc:spChg>
        <pc:graphicFrameChg chg="add del modGraphic">
          <ac:chgData name="Oğuz Öztekin" userId="33c0df0f-d5fe-4bda-8f43-141ad7af67e3" providerId="ADAL" clId="{7671717B-C626-45BA-B33A-078C0D9E0397}" dt="2024-12-12T11:46:30.259" v="1123" actId="21"/>
          <ac:graphicFrameMkLst>
            <pc:docMk/>
            <pc:sldMk cId="173792906" sldId="282"/>
            <ac:graphicFrameMk id="7" creationId="{8DFF7C6B-F1F4-7123-F2C1-0A046DC44989}"/>
          </ac:graphicFrameMkLst>
        </pc:graphicFrame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6" creationId="{633FA63A-84EB-AF5C-A666-88D49D6AE4B5}"/>
          </ac:picMkLst>
        </pc:picChg>
        <pc:picChg chg="add del">
          <ac:chgData name="Oğuz Öztekin" userId="33c0df0f-d5fe-4bda-8f43-141ad7af67e3" providerId="ADAL" clId="{7671717B-C626-45BA-B33A-078C0D9E0397}" dt="2024-12-11T08:13:18.882" v="17" actId="478"/>
          <ac:picMkLst>
            <pc:docMk/>
            <pc:sldMk cId="173792906" sldId="282"/>
            <ac:picMk id="8" creationId="{8710B19A-9845-1F3B-1FA0-870AB7C8B318}"/>
          </ac:picMkLst>
        </pc:picChg>
        <pc:picChg chg="del">
          <ac:chgData name="Oğuz Öztekin" userId="33c0df0f-d5fe-4bda-8f43-141ad7af67e3" providerId="ADAL" clId="{7671717B-C626-45BA-B33A-078C0D9E0397}" dt="2024-12-11T08:04:17.086" v="0" actId="478"/>
          <ac:picMkLst>
            <pc:docMk/>
            <pc:sldMk cId="173792906" sldId="282"/>
            <ac:picMk id="12" creationId="{8B365F46-BB10-7B4D-767A-ECE0DDBBE5BF}"/>
          </ac:picMkLst>
        </pc:pic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16" creationId="{00109AB0-C54E-5DFC-B26C-A725305701C9}"/>
          </ac:picMkLst>
        </pc:pic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21" creationId="{F3B6D292-5F06-DDD6-B10E-E50930B55CCB}"/>
          </ac:picMkLst>
        </pc:picChg>
      </pc:sldChg>
      <pc:sldChg chg="addSp delSp modSp mod">
        <pc:chgData name="Oğuz Öztekin" userId="33c0df0f-d5fe-4bda-8f43-141ad7af67e3" providerId="ADAL" clId="{7671717B-C626-45BA-B33A-078C0D9E0397}" dt="2024-12-13T10:00:26.389" v="1284" actId="20577"/>
        <pc:sldMkLst>
          <pc:docMk/>
          <pc:sldMk cId="1730444853" sldId="285"/>
        </pc:sldMkLst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4" creationId="{ABED0885-BF92-BBA9-93EA-BCADE2754F79}"/>
          </ac:spMkLst>
        </pc:spChg>
        <pc:spChg chg="mod">
          <ac:chgData name="Oğuz Öztekin" userId="33c0df0f-d5fe-4bda-8f43-141ad7af67e3" providerId="ADAL" clId="{7671717B-C626-45BA-B33A-078C0D9E0397}" dt="2024-12-13T10:00:26.389" v="1284" actId="20577"/>
          <ac:spMkLst>
            <pc:docMk/>
            <pc:sldMk cId="1730444853" sldId="285"/>
            <ac:spMk id="5" creationId="{600A7937-C68B-6947-C539-3897C4C1FF53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7" creationId="{354243B6-9532-D3B0-216F-DBCD5576B78C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9" creationId="{41F63162-675A-89EF-0F59-AC7A0077CB93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10" creationId="{47CB1277-85E4-88A5-E2C4-231E6ABC0971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11" creationId="{ACC03D6D-183E-298D-DE68-FD78194C562C}"/>
          </ac:spMkLst>
        </pc:spChg>
        <pc:spChg chg="add del mod">
          <ac:chgData name="Oğuz Öztekin" userId="33c0df0f-d5fe-4bda-8f43-141ad7af67e3" providerId="ADAL" clId="{7671717B-C626-45BA-B33A-078C0D9E0397}" dt="2024-12-12T12:32:06.592" v="1127" actId="478"/>
          <ac:spMkLst>
            <pc:docMk/>
            <pc:sldMk cId="1730444853" sldId="285"/>
            <ac:spMk id="13" creationId="{E01984C0-8C4F-65A8-E8CC-0CC41F81B95C}"/>
          </ac:spMkLst>
        </pc:spChg>
        <pc:spChg chg="add">
          <ac:chgData name="Oğuz Öztekin" userId="33c0df0f-d5fe-4bda-8f43-141ad7af67e3" providerId="ADAL" clId="{7671717B-C626-45BA-B33A-078C0D9E0397}" dt="2024-12-11T09:21:32.659" v="412"/>
          <ac:spMkLst>
            <pc:docMk/>
            <pc:sldMk cId="1730444853" sldId="285"/>
            <ac:spMk id="18" creationId="{7F2D7365-70BC-1BA8-46EA-13675FFC7780}"/>
          </ac:spMkLst>
        </pc:sp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3" creationId="{25898721-F787-C2B8-A2F2-DB8C10EE6401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6" creationId="{F6CC536B-4BD7-E3A1-59E5-0C8ADA6FE41E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8" creationId="{302F2DD5-45F8-C893-FB4D-0986C140738B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2" creationId="{672E2BDC-BDDD-D07C-79D0-60C57A2A3A13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4" creationId="{E0EF2C61-6878-BD37-125F-127A45B630B7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5" creationId="{0AED72C6-3506-2279-79D3-D640C8AD81D9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6" creationId="{474CCE55-76E1-44CF-C0BD-2FDC53970798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7" creationId="{F251AC32-35C6-B578-EDC3-6CC025246ED8}"/>
          </ac:picMkLst>
        </pc:picChg>
      </pc:sldChg>
      <pc:sldChg chg="addSp delSp modSp mod">
        <pc:chgData name="Oğuz Öztekin" userId="33c0df0f-d5fe-4bda-8f43-141ad7af67e3" providerId="ADAL" clId="{7671717B-C626-45BA-B33A-078C0D9E0397}" dt="2024-12-13T09:59:17.952" v="1276" actId="120"/>
        <pc:sldMkLst>
          <pc:docMk/>
          <pc:sldMk cId="1219213586" sldId="291"/>
        </pc:sldMkLst>
        <pc:spChg chg="add mod">
          <ac:chgData name="Oğuz Öztekin" userId="33c0df0f-d5fe-4bda-8f43-141ad7af67e3" providerId="ADAL" clId="{7671717B-C626-45BA-B33A-078C0D9E0397}" dt="2024-12-11T08:49:02.395" v="319" actId="404"/>
          <ac:spMkLst>
            <pc:docMk/>
            <pc:sldMk cId="1219213586" sldId="291"/>
            <ac:spMk id="6" creationId="{EB2BF78A-905A-F756-3DE2-42F649517BD6}"/>
          </ac:spMkLst>
        </pc:spChg>
        <pc:spChg chg="add mod">
          <ac:chgData name="Oğuz Öztekin" userId="33c0df0f-d5fe-4bda-8f43-141ad7af67e3" providerId="ADAL" clId="{7671717B-C626-45BA-B33A-078C0D9E0397}" dt="2024-12-11T08:13:49.238" v="44"/>
          <ac:spMkLst>
            <pc:docMk/>
            <pc:sldMk cId="1219213586" sldId="291"/>
            <ac:spMk id="9" creationId="{36E31313-15E8-58C0-C0CC-7692206B21CC}"/>
          </ac:spMkLst>
        </pc:spChg>
        <pc:spChg chg="add mod">
          <ac:chgData name="Oğuz Öztekin" userId="33c0df0f-d5fe-4bda-8f43-141ad7af67e3" providerId="ADAL" clId="{7671717B-C626-45BA-B33A-078C0D9E0397}" dt="2024-12-11T08:14:31.004" v="56"/>
          <ac:spMkLst>
            <pc:docMk/>
            <pc:sldMk cId="1219213586" sldId="291"/>
            <ac:spMk id="10" creationId="{A8015D4C-5D22-78AC-17A0-16A17FFA87DF}"/>
          </ac:spMkLst>
        </pc:spChg>
        <pc:spChg chg="mod">
          <ac:chgData name="Oğuz Öztekin" userId="33c0df0f-d5fe-4bda-8f43-141ad7af67e3" providerId="ADAL" clId="{7671717B-C626-45BA-B33A-078C0D9E0397}" dt="2024-12-13T09:59:17.952" v="1276" actId="120"/>
          <ac:spMkLst>
            <pc:docMk/>
            <pc:sldMk cId="1219213586" sldId="291"/>
            <ac:spMk id="11" creationId="{FD381ED3-4B0F-06AA-9EBD-40F1C9291ECE}"/>
          </ac:spMkLst>
        </pc:spChg>
        <pc:spChg chg="add mod">
          <ac:chgData name="Oğuz Öztekin" userId="33c0df0f-d5fe-4bda-8f43-141ad7af67e3" providerId="ADAL" clId="{7671717B-C626-45BA-B33A-078C0D9E0397}" dt="2024-12-11T08:13:49.238" v="44"/>
          <ac:spMkLst>
            <pc:docMk/>
            <pc:sldMk cId="1219213586" sldId="291"/>
            <ac:spMk id="12" creationId="{64E68720-5EBC-F54F-E0D5-FA500F187B9E}"/>
          </ac:spMkLst>
        </pc:spChg>
        <pc:spChg chg="add del mod">
          <ac:chgData name="Oğuz Öztekin" userId="33c0df0f-d5fe-4bda-8f43-141ad7af67e3" providerId="ADAL" clId="{7671717B-C626-45BA-B33A-078C0D9E0397}" dt="2024-12-11T08:14:50.684" v="68" actId="478"/>
          <ac:spMkLst>
            <pc:docMk/>
            <pc:sldMk cId="1219213586" sldId="291"/>
            <ac:spMk id="13" creationId="{22A5B1A7-7C39-46AB-2D00-14BF0D09038B}"/>
          </ac:spMkLst>
        </pc:spChg>
        <pc:spChg chg="add mod">
          <ac:chgData name="Oğuz Öztekin" userId="33c0df0f-d5fe-4bda-8f43-141ad7af67e3" providerId="ADAL" clId="{7671717B-C626-45BA-B33A-078C0D9E0397}" dt="2024-12-11T08:20:38.647" v="109" actId="20577"/>
          <ac:spMkLst>
            <pc:docMk/>
            <pc:sldMk cId="1219213586" sldId="291"/>
            <ac:spMk id="14" creationId="{47D0071B-6888-5D7C-2229-7CF14F997143}"/>
          </ac:spMkLst>
        </pc:spChg>
        <pc:spChg chg="del mod">
          <ac:chgData name="Oğuz Öztekin" userId="33c0df0f-d5fe-4bda-8f43-141ad7af67e3" providerId="ADAL" clId="{7671717B-C626-45BA-B33A-078C0D9E0397}" dt="2024-12-11T08:14:23.917" v="54" actId="478"/>
          <ac:spMkLst>
            <pc:docMk/>
            <pc:sldMk cId="1219213586" sldId="291"/>
            <ac:spMk id="17" creationId="{C367CAFB-09B7-74DC-3D45-5C2DA3201A2A}"/>
          </ac:spMkLst>
        </pc:spChg>
        <pc:spChg chg="del">
          <ac:chgData name="Oğuz Öztekin" userId="33c0df0f-d5fe-4bda-8f43-141ad7af67e3" providerId="ADAL" clId="{7671717B-C626-45BA-B33A-078C0D9E0397}" dt="2024-12-11T08:14:03.675" v="48" actId="478"/>
          <ac:spMkLst>
            <pc:docMk/>
            <pc:sldMk cId="1219213586" sldId="291"/>
            <ac:spMk id="22" creationId="{45753A20-C4DB-090C-1C81-A5D96D78E574}"/>
          </ac:spMkLst>
        </pc:spChg>
        <pc:spChg chg="del mod">
          <ac:chgData name="Oğuz Öztekin" userId="33c0df0f-d5fe-4bda-8f43-141ad7af67e3" providerId="ADAL" clId="{7671717B-C626-45BA-B33A-078C0D9E0397}" dt="2024-12-11T08:14:33.253" v="57" actId="478"/>
          <ac:spMkLst>
            <pc:docMk/>
            <pc:sldMk cId="1219213586" sldId="291"/>
            <ac:spMk id="23" creationId="{0ACBEBAC-5EA2-853F-D537-351EB1165A6F}"/>
          </ac:spMkLst>
        </pc:spChg>
        <pc:spChg chg="del">
          <ac:chgData name="Oğuz Öztekin" userId="33c0df0f-d5fe-4bda-8f43-141ad7af67e3" providerId="ADAL" clId="{7671717B-C626-45BA-B33A-078C0D9E0397}" dt="2024-12-11T08:14:34.077" v="58" actId="478"/>
          <ac:spMkLst>
            <pc:docMk/>
            <pc:sldMk cId="1219213586" sldId="291"/>
            <ac:spMk id="24" creationId="{8DA9953B-2E5B-C0CA-5E65-D10260A7194F}"/>
          </ac:spMkLst>
        </pc:spChg>
        <pc:picChg chg="add del mod">
          <ac:chgData name="Oğuz Öztekin" userId="33c0df0f-d5fe-4bda-8f43-141ad7af67e3" providerId="ADAL" clId="{7671717B-C626-45BA-B33A-078C0D9E0397}" dt="2024-12-11T08:14:00.130" v="46" actId="478"/>
          <ac:picMkLst>
            <pc:docMk/>
            <pc:sldMk cId="1219213586" sldId="291"/>
            <ac:picMk id="3" creationId="{B905485D-4DAF-A285-AC9F-1796334C0969}"/>
          </ac:picMkLst>
        </pc:picChg>
        <pc:picChg chg="mod">
          <ac:chgData name="Oğuz Öztekin" userId="33c0df0f-d5fe-4bda-8f43-141ad7af67e3" providerId="ADAL" clId="{7671717B-C626-45BA-B33A-078C0D9E0397}" dt="2024-12-11T08:13:56.625" v="45" actId="1076"/>
          <ac:picMkLst>
            <pc:docMk/>
            <pc:sldMk cId="1219213586" sldId="291"/>
            <ac:picMk id="4" creationId="{704BDA34-FF55-D1BD-A22A-0BD090C026E1}"/>
          </ac:picMkLst>
        </pc:picChg>
        <pc:picChg chg="add mod">
          <ac:chgData name="Oğuz Öztekin" userId="33c0df0f-d5fe-4bda-8f43-141ad7af67e3" providerId="ADAL" clId="{7671717B-C626-45BA-B33A-078C0D9E0397}" dt="2024-12-11T08:13:49.238" v="44"/>
          <ac:picMkLst>
            <pc:docMk/>
            <pc:sldMk cId="1219213586" sldId="291"/>
            <ac:picMk id="5" creationId="{C81ACAC0-71D8-D134-8628-9A7F5069E0BF}"/>
          </ac:picMkLst>
        </pc:picChg>
        <pc:picChg chg="del">
          <ac:chgData name="Oğuz Öztekin" userId="33c0df0f-d5fe-4bda-8f43-141ad7af67e3" providerId="ADAL" clId="{7671717B-C626-45BA-B33A-078C0D9E0397}" dt="2024-12-11T08:14:01.762" v="47" actId="478"/>
          <ac:picMkLst>
            <pc:docMk/>
            <pc:sldMk cId="1219213586" sldId="291"/>
            <ac:picMk id="7" creationId="{029C89A7-8759-0C65-53AB-86AA07085606}"/>
          </ac:picMkLst>
        </pc:picChg>
        <pc:picChg chg="add mod">
          <ac:chgData name="Oğuz Öztekin" userId="33c0df0f-d5fe-4bda-8f43-141ad7af67e3" providerId="ADAL" clId="{7671717B-C626-45BA-B33A-078C0D9E0397}" dt="2024-12-11T08:13:49.238" v="44"/>
          <ac:picMkLst>
            <pc:docMk/>
            <pc:sldMk cId="1219213586" sldId="291"/>
            <ac:picMk id="8" creationId="{4B7C41BC-C9BF-7489-8D0A-6135BCC5BB16}"/>
          </ac:picMkLst>
        </pc:picChg>
        <pc:picChg chg="add mod">
          <ac:chgData name="Oğuz Öztekin" userId="33c0df0f-d5fe-4bda-8f43-141ad7af67e3" providerId="ADAL" clId="{7671717B-C626-45BA-B33A-078C0D9E0397}" dt="2024-12-11T08:33:48.387" v="212" actId="1076"/>
          <ac:picMkLst>
            <pc:docMk/>
            <pc:sldMk cId="1219213586" sldId="291"/>
            <ac:picMk id="18" creationId="{BF96419E-2505-8707-7DE7-3A67690BF774}"/>
          </ac:picMkLst>
        </pc:picChg>
      </pc:sldChg>
      <pc:sldChg chg="addSp delSp modSp del mod">
        <pc:chgData name="Oğuz Öztekin" userId="33c0df0f-d5fe-4bda-8f43-141ad7af67e3" providerId="ADAL" clId="{7671717B-C626-45BA-B33A-078C0D9E0397}" dt="2024-12-11T08:28:20.432" v="188" actId="47"/>
        <pc:sldMkLst>
          <pc:docMk/>
          <pc:sldMk cId="1560558835" sldId="292"/>
        </pc:sldMkLst>
        <pc:picChg chg="add del mod">
          <ac:chgData name="Oğuz Öztekin" userId="33c0df0f-d5fe-4bda-8f43-141ad7af67e3" providerId="ADAL" clId="{7671717B-C626-45BA-B33A-078C0D9E0397}" dt="2024-12-11T08:17:33.038" v="73" actId="21"/>
          <ac:picMkLst>
            <pc:docMk/>
            <pc:sldMk cId="1560558835" sldId="292"/>
            <ac:picMk id="6" creationId="{92054B15-9D69-B776-ED04-9F68527BA054}"/>
          </ac:picMkLst>
        </pc:picChg>
      </pc:sldChg>
      <pc:sldChg chg="del">
        <pc:chgData name="Oğuz Öztekin" userId="33c0df0f-d5fe-4bda-8f43-141ad7af67e3" providerId="ADAL" clId="{7671717B-C626-45BA-B33A-078C0D9E0397}" dt="2024-12-11T08:28:39.140" v="189" actId="2696"/>
        <pc:sldMkLst>
          <pc:docMk/>
          <pc:sldMk cId="456118957" sldId="293"/>
        </pc:sldMkLst>
      </pc:sldChg>
      <pc:sldChg chg="del">
        <pc:chgData name="Oğuz Öztekin" userId="33c0df0f-d5fe-4bda-8f43-141ad7af67e3" providerId="ADAL" clId="{7671717B-C626-45BA-B33A-078C0D9E0397}" dt="2024-12-11T08:42:56.819" v="267" actId="2696"/>
        <pc:sldMkLst>
          <pc:docMk/>
          <pc:sldMk cId="2578389252" sldId="294"/>
        </pc:sldMkLst>
      </pc:sldChg>
      <pc:sldChg chg="del">
        <pc:chgData name="Oğuz Öztekin" userId="33c0df0f-d5fe-4bda-8f43-141ad7af67e3" providerId="ADAL" clId="{7671717B-C626-45BA-B33A-078C0D9E0397}" dt="2024-12-11T08:50:05.724" v="322" actId="2696"/>
        <pc:sldMkLst>
          <pc:docMk/>
          <pc:sldMk cId="1804213171" sldId="295"/>
        </pc:sldMkLst>
      </pc:sldChg>
      <pc:sldChg chg="del">
        <pc:chgData name="Oğuz Öztekin" userId="33c0df0f-d5fe-4bda-8f43-141ad7af67e3" providerId="ADAL" clId="{7671717B-C626-45BA-B33A-078C0D9E0397}" dt="2024-12-11T09:01:28.096" v="356" actId="2696"/>
        <pc:sldMkLst>
          <pc:docMk/>
          <pc:sldMk cId="1870315123" sldId="296"/>
        </pc:sldMkLst>
      </pc:sldChg>
      <pc:sldChg chg="del">
        <pc:chgData name="Oğuz Öztekin" userId="33c0df0f-d5fe-4bda-8f43-141ad7af67e3" providerId="ADAL" clId="{7671717B-C626-45BA-B33A-078C0D9E0397}" dt="2024-12-11T08:56:12.917" v="324" actId="2696"/>
        <pc:sldMkLst>
          <pc:docMk/>
          <pc:sldMk cId="1836466022" sldId="297"/>
        </pc:sldMkLst>
      </pc:sldChg>
      <pc:sldChg chg="del">
        <pc:chgData name="Oğuz Öztekin" userId="33c0df0f-d5fe-4bda-8f43-141ad7af67e3" providerId="ADAL" clId="{7671717B-C626-45BA-B33A-078C0D9E0397}" dt="2024-12-11T09:04:48.400" v="385" actId="2696"/>
        <pc:sldMkLst>
          <pc:docMk/>
          <pc:sldMk cId="2836242812" sldId="298"/>
        </pc:sldMkLst>
      </pc:sldChg>
      <pc:sldChg chg="del">
        <pc:chgData name="Oğuz Öztekin" userId="33c0df0f-d5fe-4bda-8f43-141ad7af67e3" providerId="ADAL" clId="{7671717B-C626-45BA-B33A-078C0D9E0397}" dt="2024-12-11T08:50:17.059" v="323" actId="2696"/>
        <pc:sldMkLst>
          <pc:docMk/>
          <pc:sldMk cId="2857301006" sldId="299"/>
        </pc:sldMkLst>
      </pc:sldChg>
      <pc:sldChg chg="addSp delSp modSp mod">
        <pc:chgData name="Oğuz Öztekin" userId="33c0df0f-d5fe-4bda-8f43-141ad7af67e3" providerId="ADAL" clId="{7671717B-C626-45BA-B33A-078C0D9E0397}" dt="2024-12-13T10:11:12.770" v="1423" actId="1036"/>
        <pc:sldMkLst>
          <pc:docMk/>
          <pc:sldMk cId="1169620162" sldId="300"/>
        </pc:sldMkLst>
        <pc:spChg chg="mod">
          <ac:chgData name="Oğuz Öztekin" userId="33c0df0f-d5fe-4bda-8f43-141ad7af67e3" providerId="ADAL" clId="{7671717B-C626-45BA-B33A-078C0D9E0397}" dt="2024-12-11T10:13:48.163" v="524" actId="1076"/>
          <ac:spMkLst>
            <pc:docMk/>
            <pc:sldMk cId="1169620162" sldId="300"/>
            <ac:spMk id="5" creationId="{023D7789-A84C-C40F-7E44-A8648DF4D433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6" creationId="{0289B17E-3E63-C4D0-4220-4A700327B8DA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7" creationId="{4087CA3D-86DD-0964-805B-698465C51E22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0" creationId="{A6B21EE1-78D1-E858-F454-19E9647C717A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1" creationId="{9FEB7304-D1C6-1D74-EB15-AD09696B35D9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2" creationId="{C95F3592-3F34-387F-BF09-54FE8A1BBD2E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9" creationId="{EAB55965-EEA3-B7B7-B3CC-3EADCA74AF13}"/>
          </ac:spMkLst>
        </pc:spChg>
        <pc:picChg chg="add del mod">
          <ac:chgData name="Oğuz Öztekin" userId="33c0df0f-d5fe-4bda-8f43-141ad7af67e3" providerId="ADAL" clId="{7671717B-C626-45BA-B33A-078C0D9E0397}" dt="2024-12-11T10:07:46.857" v="426" actId="478"/>
          <ac:picMkLst>
            <pc:docMk/>
            <pc:sldMk cId="1169620162" sldId="300"/>
            <ac:picMk id="4" creationId="{5E73C5E0-3E4C-EBA8-DF7C-14D470CACA4E}"/>
          </ac:picMkLst>
        </pc:picChg>
        <pc:picChg chg="add del mod">
          <ac:chgData name="Oğuz Öztekin" userId="33c0df0f-d5fe-4bda-8f43-141ad7af67e3" providerId="ADAL" clId="{7671717B-C626-45BA-B33A-078C0D9E0397}" dt="2024-12-12T10:38:46.946" v="697" actId="478"/>
          <ac:picMkLst>
            <pc:docMk/>
            <pc:sldMk cId="1169620162" sldId="300"/>
            <ac:picMk id="8" creationId="{133A8940-F261-3F6F-2730-4D9A905965D6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9" creationId="{B7DE43CE-4940-2FEA-F878-8F3B73DE45D5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4" creationId="{3F0543E7-0DF6-49F5-7B08-1EEA1BEE3882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5" creationId="{B8529641-4EA3-10BC-141F-7E23BD13CC87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6" creationId="{AC92F01D-0FBC-9267-71B8-DBEA53583BB2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8" creationId="{AB902A7F-9FAC-236B-DFF4-7EA64D290C31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0" creationId="{E503AE43-B4B6-87C7-E2F7-20E75C6C39E3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1" creationId="{6B075EB2-78E7-2D84-B113-3D4CA28593ED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2" creationId="{2C81CE48-E48C-F5A7-381F-7CD79A67B1E3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4" creationId="{933367F5-3067-1099-1254-184F315A59CD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5" creationId="{2F98A76A-A76E-D6F0-BB2F-C456337AFF22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6" creationId="{64C86549-1CAC-953C-021D-16F772A28C7F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8" creationId="{4BC0A087-8CE7-2B9C-5B1A-795D313B5A06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25.015" v="1277" actId="120"/>
        <pc:sldMkLst>
          <pc:docMk/>
          <pc:sldMk cId="322219125" sldId="301"/>
        </pc:sldMkLst>
        <pc:spChg chg="mod">
          <ac:chgData name="Oğuz Öztekin" userId="33c0df0f-d5fe-4bda-8f43-141ad7af67e3" providerId="ADAL" clId="{7671717B-C626-45BA-B33A-078C0D9E0397}" dt="2024-12-11T08:48:56.984" v="318" actId="404"/>
          <ac:spMkLst>
            <pc:docMk/>
            <pc:sldMk cId="322219125" sldId="301"/>
            <ac:spMk id="6" creationId="{14E86D72-7441-C1F6-1CDA-796DCE23CBFB}"/>
          </ac:spMkLst>
        </pc:spChg>
        <pc:spChg chg="mod">
          <ac:chgData name="Oğuz Öztekin" userId="33c0df0f-d5fe-4bda-8f43-141ad7af67e3" providerId="ADAL" clId="{7671717B-C626-45BA-B33A-078C0D9E0397}" dt="2024-12-11T08:23:32.987" v="140"/>
          <ac:spMkLst>
            <pc:docMk/>
            <pc:sldMk cId="322219125" sldId="301"/>
            <ac:spMk id="10" creationId="{D90D0EE8-3A79-5BD4-4687-09AB5103C6D5}"/>
          </ac:spMkLst>
        </pc:spChg>
        <pc:spChg chg="mod">
          <ac:chgData name="Oğuz Öztekin" userId="33c0df0f-d5fe-4bda-8f43-141ad7af67e3" providerId="ADAL" clId="{7671717B-C626-45BA-B33A-078C0D9E0397}" dt="2024-12-13T09:59:25.015" v="1277" actId="120"/>
          <ac:spMkLst>
            <pc:docMk/>
            <pc:sldMk cId="322219125" sldId="301"/>
            <ac:spMk id="11" creationId="{688A3D41-A9F9-7E58-8828-B46E26776B07}"/>
          </ac:spMkLst>
        </pc:spChg>
        <pc:spChg chg="add del">
          <ac:chgData name="Oğuz Öztekin" userId="33c0df0f-d5fe-4bda-8f43-141ad7af67e3" providerId="ADAL" clId="{7671717B-C626-45BA-B33A-078C0D9E0397}" dt="2024-12-11T08:21:44.901" v="131" actId="22"/>
          <ac:spMkLst>
            <pc:docMk/>
            <pc:sldMk cId="322219125" sldId="301"/>
            <ac:spMk id="13" creationId="{192E1D7E-D7A9-653D-389A-335568CD7FBC}"/>
          </ac:spMkLst>
        </pc:spChg>
        <pc:spChg chg="add mod">
          <ac:chgData name="Oğuz Öztekin" userId="33c0df0f-d5fe-4bda-8f43-141ad7af67e3" providerId="ADAL" clId="{7671717B-C626-45BA-B33A-078C0D9E0397}" dt="2024-12-11T08:27:52.132" v="186" actId="20577"/>
          <ac:spMkLst>
            <pc:docMk/>
            <pc:sldMk cId="322219125" sldId="301"/>
            <ac:spMk id="19" creationId="{A333F1E1-ABA6-6247-7034-4E3B3D85D865}"/>
          </ac:spMkLst>
        </pc:spChg>
        <pc:picChg chg="add mod">
          <ac:chgData name="Oğuz Öztekin" userId="33c0df0f-d5fe-4bda-8f43-141ad7af67e3" providerId="ADAL" clId="{7671717B-C626-45BA-B33A-078C0D9E0397}" dt="2024-12-11T08:18:28.228" v="92" actId="1076"/>
          <ac:picMkLst>
            <pc:docMk/>
            <pc:sldMk cId="322219125" sldId="301"/>
            <ac:picMk id="3" creationId="{92054B15-9D69-B776-ED04-9F68527BA054}"/>
          </ac:picMkLst>
        </pc:picChg>
        <pc:picChg chg="add del mod">
          <ac:chgData name="Oğuz Öztekin" userId="33c0df0f-d5fe-4bda-8f43-141ad7af67e3" providerId="ADAL" clId="{7671717B-C626-45BA-B33A-078C0D9E0397}" dt="2024-12-11T08:22:14.625" v="136" actId="478"/>
          <ac:picMkLst>
            <pc:docMk/>
            <pc:sldMk cId="322219125" sldId="301"/>
            <ac:picMk id="15" creationId="{35BAE7C4-9778-7C37-7A68-0FB97BDBF6E6}"/>
          </ac:picMkLst>
        </pc:picChg>
        <pc:picChg chg="add mod">
          <ac:chgData name="Oğuz Öztekin" userId="33c0df0f-d5fe-4bda-8f43-141ad7af67e3" providerId="ADAL" clId="{7671717B-C626-45BA-B33A-078C0D9E0397}" dt="2024-12-11T08:22:46.774" v="139" actId="1076"/>
          <ac:picMkLst>
            <pc:docMk/>
            <pc:sldMk cId="322219125" sldId="301"/>
            <ac:picMk id="18" creationId="{88D83A97-3FBF-204D-063C-3D4822646EC0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30.521" v="1278" actId="120"/>
        <pc:sldMkLst>
          <pc:docMk/>
          <pc:sldMk cId="3347764341" sldId="302"/>
        </pc:sldMkLst>
        <pc:spChg chg="mod">
          <ac:chgData name="Oğuz Öztekin" userId="33c0df0f-d5fe-4bda-8f43-141ad7af67e3" providerId="ADAL" clId="{7671717B-C626-45BA-B33A-078C0D9E0397}" dt="2024-12-11T08:48:52.948" v="317" actId="404"/>
          <ac:spMkLst>
            <pc:docMk/>
            <pc:sldMk cId="3347764341" sldId="302"/>
            <ac:spMk id="6" creationId="{AF58F43B-EAE2-67F9-57DB-C6A3427DFF6A}"/>
          </ac:spMkLst>
        </pc:spChg>
        <pc:spChg chg="mod">
          <ac:chgData name="Oğuz Öztekin" userId="33c0df0f-d5fe-4bda-8f43-141ad7af67e3" providerId="ADAL" clId="{7671717B-C626-45BA-B33A-078C0D9E0397}" dt="2024-12-11T08:36:33.178" v="266" actId="20577"/>
          <ac:spMkLst>
            <pc:docMk/>
            <pc:sldMk cId="3347764341" sldId="302"/>
            <ac:spMk id="10" creationId="{82B14BE5-E4AA-FD63-64B5-7DFE8A43EACF}"/>
          </ac:spMkLst>
        </pc:spChg>
        <pc:spChg chg="mod">
          <ac:chgData name="Oğuz Öztekin" userId="33c0df0f-d5fe-4bda-8f43-141ad7af67e3" providerId="ADAL" clId="{7671717B-C626-45BA-B33A-078C0D9E0397}" dt="2024-12-13T09:59:30.521" v="1278" actId="120"/>
          <ac:spMkLst>
            <pc:docMk/>
            <pc:sldMk cId="3347764341" sldId="302"/>
            <ac:spMk id="11" creationId="{44FAA8AA-28A1-49FC-FF2F-B4B075C4F214}"/>
          </ac:spMkLst>
        </pc:spChg>
        <pc:spChg chg="mod">
          <ac:chgData name="Oğuz Öztekin" userId="33c0df0f-d5fe-4bda-8f43-141ad7af67e3" providerId="ADAL" clId="{7671717B-C626-45BA-B33A-078C0D9E0397}" dt="2024-12-11T08:30:46.320" v="196" actId="20577"/>
          <ac:spMkLst>
            <pc:docMk/>
            <pc:sldMk cId="3347764341" sldId="302"/>
            <ac:spMk id="19" creationId="{7E2CBBF4-5B87-BDAC-5C65-ED18BB43FC80}"/>
          </ac:spMkLst>
        </pc:spChg>
        <pc:picChg chg="del">
          <ac:chgData name="Oğuz Öztekin" userId="33c0df0f-d5fe-4bda-8f43-141ad7af67e3" providerId="ADAL" clId="{7671717B-C626-45BA-B33A-078C0D9E0397}" dt="2024-12-11T08:32:06.738" v="206" actId="478"/>
          <ac:picMkLst>
            <pc:docMk/>
            <pc:sldMk cId="3347764341" sldId="302"/>
            <ac:picMk id="3" creationId="{1271D5FA-E1FE-E373-2662-3EE11669FF77}"/>
          </ac:picMkLst>
        </pc:picChg>
        <pc:picChg chg="del">
          <ac:chgData name="Oğuz Öztekin" userId="33c0df0f-d5fe-4bda-8f43-141ad7af67e3" providerId="ADAL" clId="{7671717B-C626-45BA-B33A-078C0D9E0397}" dt="2024-12-11T08:32:08.690" v="207" actId="478"/>
          <ac:picMkLst>
            <pc:docMk/>
            <pc:sldMk cId="3347764341" sldId="302"/>
            <ac:picMk id="4" creationId="{ED64D3DB-DED3-061E-B5E5-9540909E6DD7}"/>
          </ac:picMkLst>
        </pc:picChg>
        <pc:picChg chg="add mod">
          <ac:chgData name="Oğuz Öztekin" userId="33c0df0f-d5fe-4bda-8f43-141ad7af67e3" providerId="ADAL" clId="{7671717B-C626-45BA-B33A-078C0D9E0397}" dt="2024-12-11T08:31:04.011" v="198" actId="1076"/>
          <ac:picMkLst>
            <pc:docMk/>
            <pc:sldMk cId="3347764341" sldId="302"/>
            <ac:picMk id="13" creationId="{CCAF449E-8B7E-8AE7-1664-FE03CD6E6425}"/>
          </ac:picMkLst>
        </pc:picChg>
        <pc:picChg chg="add del mod">
          <ac:chgData name="Oğuz Öztekin" userId="33c0df0f-d5fe-4bda-8f43-141ad7af67e3" providerId="ADAL" clId="{7671717B-C626-45BA-B33A-078C0D9E0397}" dt="2024-12-11T08:31:36.746" v="202" actId="21"/>
          <ac:picMkLst>
            <pc:docMk/>
            <pc:sldMk cId="3347764341" sldId="302"/>
            <ac:picMk id="15" creationId="{EDB5511A-C9DE-69CB-160B-54927363796D}"/>
          </ac:picMkLst>
        </pc:picChg>
        <pc:picChg chg="add mod">
          <ac:chgData name="Oğuz Öztekin" userId="33c0df0f-d5fe-4bda-8f43-141ad7af67e3" providerId="ADAL" clId="{7671717B-C626-45BA-B33A-078C0D9E0397}" dt="2024-12-11T08:32:17.260" v="209" actId="1076"/>
          <ac:picMkLst>
            <pc:docMk/>
            <pc:sldMk cId="3347764341" sldId="302"/>
            <ac:picMk id="20" creationId="{24155AF3-B095-FE29-2075-A45C5E212DDC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42.171" v="1280" actId="120"/>
        <pc:sldMkLst>
          <pc:docMk/>
          <pc:sldMk cId="3423456175" sldId="303"/>
        </pc:sldMkLst>
        <pc:spChg chg="mod">
          <ac:chgData name="Oğuz Öztekin" userId="33c0df0f-d5fe-4bda-8f43-141ad7af67e3" providerId="ADAL" clId="{7671717B-C626-45BA-B33A-078C0D9E0397}" dt="2024-12-11T08:48:46.414" v="316" actId="404"/>
          <ac:spMkLst>
            <pc:docMk/>
            <pc:sldMk cId="3423456175" sldId="303"/>
            <ac:spMk id="6" creationId="{20EF0179-B1FF-980E-301A-CB2376B44D34}"/>
          </ac:spMkLst>
        </pc:spChg>
        <pc:spChg chg="mod">
          <ac:chgData name="Oğuz Öztekin" userId="33c0df0f-d5fe-4bda-8f43-141ad7af67e3" providerId="ADAL" clId="{7671717B-C626-45BA-B33A-078C0D9E0397}" dt="2024-12-11T08:49:48.484" v="321"/>
          <ac:spMkLst>
            <pc:docMk/>
            <pc:sldMk cId="3423456175" sldId="303"/>
            <ac:spMk id="10" creationId="{57211CD2-42E8-E0C2-00D0-D051357033C3}"/>
          </ac:spMkLst>
        </pc:spChg>
        <pc:spChg chg="mod">
          <ac:chgData name="Oğuz Öztekin" userId="33c0df0f-d5fe-4bda-8f43-141ad7af67e3" providerId="ADAL" clId="{7671717B-C626-45BA-B33A-078C0D9E0397}" dt="2024-12-13T09:59:42.171" v="1280" actId="120"/>
          <ac:spMkLst>
            <pc:docMk/>
            <pc:sldMk cId="3423456175" sldId="303"/>
            <ac:spMk id="11" creationId="{AA08BAC2-CA41-B217-ED39-A1A0DE80086A}"/>
          </ac:spMkLst>
        </pc:spChg>
        <pc:spChg chg="mod">
          <ac:chgData name="Oğuz Öztekin" userId="33c0df0f-d5fe-4bda-8f43-141ad7af67e3" providerId="ADAL" clId="{7671717B-C626-45BA-B33A-078C0D9E0397}" dt="2024-12-11T08:46:45.758" v="284" actId="20577"/>
          <ac:spMkLst>
            <pc:docMk/>
            <pc:sldMk cId="3423456175" sldId="303"/>
            <ac:spMk id="19" creationId="{525B95AE-2CFC-D1E4-686B-36791CA7307E}"/>
          </ac:spMkLst>
        </pc:spChg>
        <pc:picChg chg="add mod">
          <ac:chgData name="Oğuz Öztekin" userId="33c0df0f-d5fe-4bda-8f43-141ad7af67e3" providerId="ADAL" clId="{7671717B-C626-45BA-B33A-078C0D9E0397}" dt="2024-12-11T08:45:28.634" v="271" actId="1076"/>
          <ac:picMkLst>
            <pc:docMk/>
            <pc:sldMk cId="3423456175" sldId="303"/>
            <ac:picMk id="4" creationId="{8C50F36D-330C-F3B0-21D4-CC16CB21DFC5}"/>
          </ac:picMkLst>
        </pc:picChg>
        <pc:picChg chg="add mod">
          <ac:chgData name="Oğuz Öztekin" userId="33c0df0f-d5fe-4bda-8f43-141ad7af67e3" providerId="ADAL" clId="{7671717B-C626-45BA-B33A-078C0D9E0397}" dt="2024-12-11T08:46:21.908" v="278" actId="1036"/>
          <ac:picMkLst>
            <pc:docMk/>
            <pc:sldMk cId="3423456175" sldId="303"/>
            <ac:picMk id="14" creationId="{2C7543C9-9098-9031-0D44-1428777348C6}"/>
          </ac:picMkLst>
        </pc:picChg>
        <pc:picChg chg="del">
          <ac:chgData name="Oğuz Öztekin" userId="33c0df0f-d5fe-4bda-8f43-141ad7af67e3" providerId="ADAL" clId="{7671717B-C626-45BA-B33A-078C0D9E0397}" dt="2024-12-11T08:46:18.221" v="276" actId="478"/>
          <ac:picMkLst>
            <pc:docMk/>
            <pc:sldMk cId="3423456175" sldId="303"/>
            <ac:picMk id="20" creationId="{34F73B9C-B4AE-ED6E-EE5C-36B77266CAC0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47.614" v="1281" actId="120"/>
        <pc:sldMkLst>
          <pc:docMk/>
          <pc:sldMk cId="4005765948" sldId="304"/>
        </pc:sldMkLst>
        <pc:spChg chg="mod">
          <ac:chgData name="Oğuz Öztekin" userId="33c0df0f-d5fe-4bda-8f43-141ad7af67e3" providerId="ADAL" clId="{7671717B-C626-45BA-B33A-078C0D9E0397}" dt="2024-12-11T09:00:11.586" v="353"/>
          <ac:spMkLst>
            <pc:docMk/>
            <pc:sldMk cId="4005765948" sldId="304"/>
            <ac:spMk id="6" creationId="{0FA5A7B0-4EE0-8CB6-9851-AC434BF5B02D}"/>
          </ac:spMkLst>
        </pc:spChg>
        <pc:spChg chg="mod">
          <ac:chgData name="Oğuz Öztekin" userId="33c0df0f-d5fe-4bda-8f43-141ad7af67e3" providerId="ADAL" clId="{7671717B-C626-45BA-B33A-078C0D9E0397}" dt="2024-12-11T09:00:50.879" v="354"/>
          <ac:spMkLst>
            <pc:docMk/>
            <pc:sldMk cId="4005765948" sldId="304"/>
            <ac:spMk id="10" creationId="{8045BB41-B010-76F6-2C42-C33EF0B0D015}"/>
          </ac:spMkLst>
        </pc:spChg>
        <pc:spChg chg="mod">
          <ac:chgData name="Oğuz Öztekin" userId="33c0df0f-d5fe-4bda-8f43-141ad7af67e3" providerId="ADAL" clId="{7671717B-C626-45BA-B33A-078C0D9E0397}" dt="2024-12-13T09:59:47.614" v="1281" actId="120"/>
          <ac:spMkLst>
            <pc:docMk/>
            <pc:sldMk cId="4005765948" sldId="304"/>
            <ac:spMk id="11" creationId="{37A46043-0998-F30E-AB27-890B7F2169B5}"/>
          </ac:spMkLst>
        </pc:spChg>
        <pc:spChg chg="mod">
          <ac:chgData name="Oğuz Öztekin" userId="33c0df0f-d5fe-4bda-8f43-141ad7af67e3" providerId="ADAL" clId="{7671717B-C626-45BA-B33A-078C0D9E0397}" dt="2024-12-11T09:02:14.893" v="357" actId="1076"/>
          <ac:spMkLst>
            <pc:docMk/>
            <pc:sldMk cId="4005765948" sldId="304"/>
            <ac:spMk id="19" creationId="{3A6572B0-AEA3-4C5B-B83E-ECF82651DF4C}"/>
          </ac:spMkLst>
        </pc:spChg>
        <pc:picChg chg="add mod">
          <ac:chgData name="Oğuz Öztekin" userId="33c0df0f-d5fe-4bda-8f43-141ad7af67e3" providerId="ADAL" clId="{7671717B-C626-45BA-B33A-078C0D9E0397}" dt="2024-12-11T08:57:49.994" v="346" actId="1076"/>
          <ac:picMkLst>
            <pc:docMk/>
            <pc:sldMk cId="4005765948" sldId="304"/>
            <ac:picMk id="7" creationId="{0F8EA7DA-7373-C3DD-3391-603FE8D7BB07}"/>
          </ac:picMkLst>
        </pc:picChg>
        <pc:picChg chg="del">
          <ac:chgData name="Oğuz Öztekin" userId="33c0df0f-d5fe-4bda-8f43-141ad7af67e3" providerId="ADAL" clId="{7671717B-C626-45BA-B33A-078C0D9E0397}" dt="2024-12-11T08:58:09.073" v="349" actId="478"/>
          <ac:picMkLst>
            <pc:docMk/>
            <pc:sldMk cId="4005765948" sldId="304"/>
            <ac:picMk id="14" creationId="{F93B3516-0BA0-526E-764B-C2ED4301F986}"/>
          </ac:picMkLst>
        </pc:picChg>
        <pc:picChg chg="add mod">
          <ac:chgData name="Oğuz Öztekin" userId="33c0df0f-d5fe-4bda-8f43-141ad7af67e3" providerId="ADAL" clId="{7671717B-C626-45BA-B33A-078C0D9E0397}" dt="2024-12-11T08:58:20.338" v="352" actId="1076"/>
          <ac:picMkLst>
            <pc:docMk/>
            <pc:sldMk cId="4005765948" sldId="304"/>
            <ac:picMk id="17" creationId="{1459C520-CF57-6FF2-2749-DB216433114F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53.075" v="1282" actId="120"/>
        <pc:sldMkLst>
          <pc:docMk/>
          <pc:sldMk cId="317251413" sldId="305"/>
        </pc:sldMkLst>
        <pc:spChg chg="mod">
          <ac:chgData name="Oğuz Öztekin" userId="33c0df0f-d5fe-4bda-8f43-141ad7af67e3" providerId="ADAL" clId="{7671717B-C626-45BA-B33A-078C0D9E0397}" dt="2024-12-11T09:05:37.133" v="386"/>
          <ac:spMkLst>
            <pc:docMk/>
            <pc:sldMk cId="317251413" sldId="305"/>
            <ac:spMk id="6" creationId="{97363114-B4B3-7D3C-FA0A-38473465A6BE}"/>
          </ac:spMkLst>
        </pc:spChg>
        <pc:spChg chg="mod">
          <ac:chgData name="Oğuz Öztekin" userId="33c0df0f-d5fe-4bda-8f43-141ad7af67e3" providerId="ADAL" clId="{7671717B-C626-45BA-B33A-078C0D9E0397}" dt="2024-12-11T09:06:30.971" v="389" actId="20577"/>
          <ac:spMkLst>
            <pc:docMk/>
            <pc:sldMk cId="317251413" sldId="305"/>
            <ac:spMk id="10" creationId="{10D31B45-4EDE-19BE-0C61-F5F437895545}"/>
          </ac:spMkLst>
        </pc:spChg>
        <pc:spChg chg="mod">
          <ac:chgData name="Oğuz Öztekin" userId="33c0df0f-d5fe-4bda-8f43-141ad7af67e3" providerId="ADAL" clId="{7671717B-C626-45BA-B33A-078C0D9E0397}" dt="2024-12-13T09:59:53.075" v="1282" actId="120"/>
          <ac:spMkLst>
            <pc:docMk/>
            <pc:sldMk cId="317251413" sldId="305"/>
            <ac:spMk id="11" creationId="{35A11336-3E21-FCBD-D0C5-505DB8DF4D9D}"/>
          </ac:spMkLst>
        </pc:spChg>
        <pc:spChg chg="mod">
          <ac:chgData name="Oğuz Öztekin" userId="33c0df0f-d5fe-4bda-8f43-141ad7af67e3" providerId="ADAL" clId="{7671717B-C626-45BA-B33A-078C0D9E0397}" dt="2024-12-11T09:04:42.270" v="384" actId="20577"/>
          <ac:spMkLst>
            <pc:docMk/>
            <pc:sldMk cId="317251413" sldId="305"/>
            <ac:spMk id="19" creationId="{758E81DE-DB32-32FB-69A4-9FB3F533A8B4}"/>
          </ac:spMkLst>
        </pc:spChg>
        <pc:spChg chg="add">
          <ac:chgData name="Oğuz Öztekin" userId="33c0df0f-d5fe-4bda-8f43-141ad7af67e3" providerId="ADAL" clId="{7671717B-C626-45BA-B33A-078C0D9E0397}" dt="2024-12-11T09:06:16.678" v="387"/>
          <ac:spMkLst>
            <pc:docMk/>
            <pc:sldMk cId="317251413" sldId="305"/>
            <ac:spMk id="23" creationId="{1D9590FD-25E8-674A-9817-779E316E300A}"/>
          </ac:spMkLst>
        </pc:spChg>
        <pc:picChg chg="add mod">
          <ac:chgData name="Oğuz Öztekin" userId="33c0df0f-d5fe-4bda-8f43-141ad7af67e3" providerId="ADAL" clId="{7671717B-C626-45BA-B33A-078C0D9E0397}" dt="2024-12-11T09:03:11.598" v="360" actId="1076"/>
          <ac:picMkLst>
            <pc:docMk/>
            <pc:sldMk cId="317251413" sldId="305"/>
            <ac:picMk id="14" creationId="{03DC29C2-ECDA-2F18-C2D6-273AE3369E75}"/>
          </ac:picMkLst>
        </pc:picChg>
        <pc:picChg chg="del">
          <ac:chgData name="Oğuz Öztekin" userId="33c0df0f-d5fe-4bda-8f43-141ad7af67e3" providerId="ADAL" clId="{7671717B-C626-45BA-B33A-078C0D9E0397}" dt="2024-12-11T09:04:19.556" v="366" actId="478"/>
          <ac:picMkLst>
            <pc:docMk/>
            <pc:sldMk cId="317251413" sldId="305"/>
            <ac:picMk id="17" creationId="{1FA00771-C5CC-BB82-0196-6191787FCE1C}"/>
          </ac:picMkLst>
        </pc:picChg>
        <pc:picChg chg="add del mod">
          <ac:chgData name="Oğuz Öztekin" userId="33c0df0f-d5fe-4bda-8f43-141ad7af67e3" providerId="ADAL" clId="{7671717B-C626-45BA-B33A-078C0D9E0397}" dt="2024-12-11T09:03:58.181" v="362" actId="21"/>
          <ac:picMkLst>
            <pc:docMk/>
            <pc:sldMk cId="317251413" sldId="305"/>
            <ac:picMk id="20" creationId="{F7E923C3-781E-0965-E9DB-87D06AF6B1C0}"/>
          </ac:picMkLst>
        </pc:picChg>
        <pc:picChg chg="add mod">
          <ac:chgData name="Oğuz Öztekin" userId="33c0df0f-d5fe-4bda-8f43-141ad7af67e3" providerId="ADAL" clId="{7671717B-C626-45BA-B33A-078C0D9E0397}" dt="2024-12-11T09:04:28.177" v="368" actId="1076"/>
          <ac:picMkLst>
            <pc:docMk/>
            <pc:sldMk cId="317251413" sldId="305"/>
            <ac:picMk id="22" creationId="{D3204274-F8A6-76B0-62B4-3D6052957063}"/>
          </ac:picMkLst>
        </pc:picChg>
      </pc:sldChg>
      <pc:sldChg chg="addSp delSp modSp add del mod">
        <pc:chgData name="Oğuz Öztekin" userId="33c0df0f-d5fe-4bda-8f43-141ad7af67e3" providerId="ADAL" clId="{7671717B-C626-45BA-B33A-078C0D9E0397}" dt="2024-12-13T09:29:03.869" v="1182" actId="2696"/>
        <pc:sldMkLst>
          <pc:docMk/>
          <pc:sldMk cId="1441212069" sldId="306"/>
        </pc:sldMkLst>
        <pc:spChg chg="add del mod">
          <ac:chgData name="Oğuz Öztekin" userId="33c0df0f-d5fe-4bda-8f43-141ad7af67e3" providerId="ADAL" clId="{7671717B-C626-45BA-B33A-078C0D9E0397}" dt="2024-12-13T09:29:00.105" v="1181" actId="478"/>
          <ac:spMkLst>
            <pc:docMk/>
            <pc:sldMk cId="1441212069" sldId="306"/>
            <ac:spMk id="3" creationId="{EF1514C8-0A15-06B4-7D72-5C801DC0B0C4}"/>
          </ac:spMkLst>
        </pc:spChg>
        <pc:spChg chg="add mod">
          <ac:chgData name="Oğuz Öztekin" userId="33c0df0f-d5fe-4bda-8f43-141ad7af67e3" providerId="ADAL" clId="{7671717B-C626-45BA-B33A-078C0D9E0397}" dt="2024-12-12T10:21:16.949" v="653" actId="1076"/>
          <ac:spMkLst>
            <pc:docMk/>
            <pc:sldMk cId="1441212069" sldId="306"/>
            <ac:spMk id="4" creationId="{3B53BC3B-1492-3629-E7FE-6D94114BF9CF}"/>
          </ac:spMkLst>
        </pc:spChg>
        <pc:spChg chg="del">
          <ac:chgData name="Oğuz Öztekin" userId="33c0df0f-d5fe-4bda-8f43-141ad7af67e3" providerId="ADAL" clId="{7671717B-C626-45BA-B33A-078C0D9E0397}" dt="2024-12-12T10:21:00.652" v="651" actId="478"/>
          <ac:spMkLst>
            <pc:docMk/>
            <pc:sldMk cId="1441212069" sldId="306"/>
            <ac:spMk id="26" creationId="{BCCAFCA9-28FD-BD25-ABEA-0B9B07463E0B}"/>
          </ac:spMkLst>
        </pc:spChg>
        <pc:picChg chg="mod">
          <ac:chgData name="Oğuz Öztekin" userId="33c0df0f-d5fe-4bda-8f43-141ad7af67e3" providerId="ADAL" clId="{7671717B-C626-45BA-B33A-078C0D9E0397}" dt="2024-12-12T10:20:47.380" v="647" actId="1076"/>
          <ac:picMkLst>
            <pc:docMk/>
            <pc:sldMk cId="1441212069" sldId="306"/>
            <ac:picMk id="6" creationId="{A32C9BA4-A2D3-5A26-467F-0DCD4335208F}"/>
          </ac:picMkLst>
        </pc:picChg>
        <pc:picChg chg="del">
          <ac:chgData name="Oğuz Öztekin" userId="33c0df0f-d5fe-4bda-8f43-141ad7af67e3" providerId="ADAL" clId="{7671717B-C626-45BA-B33A-078C0D9E0397}" dt="2024-12-12T10:20:58.570" v="650" actId="478"/>
          <ac:picMkLst>
            <pc:docMk/>
            <pc:sldMk cId="1441212069" sldId="306"/>
            <ac:picMk id="16" creationId="{D3C6E229-1DA2-41BC-9DF8-5CAB53AA6800}"/>
          </ac:picMkLst>
        </pc:picChg>
        <pc:picChg chg="add del">
          <ac:chgData name="Oğuz Öztekin" userId="33c0df0f-d5fe-4bda-8f43-141ad7af67e3" providerId="ADAL" clId="{7671717B-C626-45BA-B33A-078C0D9E0397}" dt="2024-12-12T10:20:52.866" v="649" actId="478"/>
          <ac:picMkLst>
            <pc:docMk/>
            <pc:sldMk cId="1441212069" sldId="306"/>
            <ac:picMk id="21" creationId="{2F82F586-F973-F0A1-B1A5-A2C9C80835FE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10:09:42.166" v="1382" actId="20577"/>
        <pc:sldMkLst>
          <pc:docMk/>
          <pc:sldMk cId="1748462351" sldId="307"/>
        </pc:sldMkLst>
        <pc:spChg chg="add mod">
          <ac:chgData name="Oğuz Öztekin" userId="33c0df0f-d5fe-4bda-8f43-141ad7af67e3" providerId="ADAL" clId="{7671717B-C626-45BA-B33A-078C0D9E0397}" dt="2024-12-12T11:23:08.949" v="799" actId="1076"/>
          <ac:spMkLst>
            <pc:docMk/>
            <pc:sldMk cId="1748462351" sldId="307"/>
            <ac:spMk id="4" creationId="{62359619-6B3B-1987-CBFF-77083AF9C140}"/>
          </ac:spMkLst>
        </pc:spChg>
        <pc:spChg chg="del">
          <ac:chgData name="Oğuz Öztekin" userId="33c0df0f-d5fe-4bda-8f43-141ad7af67e3" providerId="ADAL" clId="{7671717B-C626-45BA-B33A-078C0D9E0397}" dt="2024-12-12T10:49:11.913" v="729" actId="478"/>
          <ac:spMkLst>
            <pc:docMk/>
            <pc:sldMk cId="1748462351" sldId="307"/>
            <ac:spMk id="5" creationId="{B6021B66-6C22-7F7C-CF06-62917F23946E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6" creationId="{1F85CCD9-08AD-30A1-2782-134A18FC88F9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7" creationId="{933A1819-6670-8C0C-6B3A-46BBF8340619}"/>
          </ac:spMkLst>
        </pc:spChg>
        <pc:spChg chg="add mod">
          <ac:chgData name="Oğuz Öztekin" userId="33c0df0f-d5fe-4bda-8f43-141ad7af67e3" providerId="ADAL" clId="{7671717B-C626-45BA-B33A-078C0D9E0397}" dt="2024-12-13T10:09:42.166" v="1382" actId="20577"/>
          <ac:spMkLst>
            <pc:docMk/>
            <pc:sldMk cId="1748462351" sldId="307"/>
            <ac:spMk id="8" creationId="{BD73D3CA-1A04-09CA-0894-FB03AD0B3971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0" creationId="{E85F482C-38EB-3883-DBEF-F4A2A53EFBA7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1" creationId="{E979A89B-0A3D-93FB-1F9C-547C2F2D5189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2" creationId="{34E214AB-EDD0-2CEF-1701-A40E048EFEA9}"/>
          </ac:spMkLst>
        </pc:spChg>
        <pc:spChg chg="mod">
          <ac:chgData name="Oğuz Öztekin" userId="33c0df0f-d5fe-4bda-8f43-141ad7af67e3" providerId="ADAL" clId="{7671717B-C626-45BA-B33A-078C0D9E0397}" dt="2024-12-12T11:23:08.949" v="799" actId="1076"/>
          <ac:spMkLst>
            <pc:docMk/>
            <pc:sldMk cId="1748462351" sldId="307"/>
            <ac:spMk id="19" creationId="{A26C8768-0802-8345-B915-F129944F237F}"/>
          </ac:spMkLst>
        </pc:spChg>
        <pc:spChg chg="add mod">
          <ac:chgData name="Oğuz Öztekin" userId="33c0df0f-d5fe-4bda-8f43-141ad7af67e3" providerId="ADAL" clId="{7671717B-C626-45BA-B33A-078C0D9E0397}" dt="2024-12-13T10:08:25.457" v="1301" actId="1076"/>
          <ac:spMkLst>
            <pc:docMk/>
            <pc:sldMk cId="1748462351" sldId="307"/>
            <ac:spMk id="33" creationId="{12E8F235-7E19-FC86-022D-01ED5CB4838F}"/>
          </ac:spMkLst>
        </pc:spChg>
        <pc:graphicFrameChg chg="add mod modGraphic">
          <ac:chgData name="Oğuz Öztekin" userId="33c0df0f-d5fe-4bda-8f43-141ad7af67e3" providerId="ADAL" clId="{7671717B-C626-45BA-B33A-078C0D9E0397}" dt="2024-12-13T10:09:31.828" v="1377" actId="20577"/>
          <ac:graphicFrameMkLst>
            <pc:docMk/>
            <pc:sldMk cId="1748462351" sldId="307"/>
            <ac:graphicFrameMk id="17" creationId="{F54AD37F-7410-579D-CC16-50289C54B8C5}"/>
          </ac:graphicFrameMkLst>
        </pc:graphicFrameChg>
        <pc:graphicFrameChg chg="add mod">
          <ac:chgData name="Oğuz Öztekin" userId="33c0df0f-d5fe-4bda-8f43-141ad7af67e3" providerId="ADAL" clId="{7671717B-C626-45BA-B33A-078C0D9E0397}" dt="2024-12-12T11:46:47.024" v="1126" actId="14100"/>
          <ac:graphicFrameMkLst>
            <pc:docMk/>
            <pc:sldMk cId="1748462351" sldId="307"/>
            <ac:graphicFrameMk id="41" creationId="{8DFF7C6B-F1F4-7123-F2C1-0A046DC44989}"/>
          </ac:graphicFrameMkLst>
        </pc:graphicFrame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9" creationId="{9A5A9875-8DE1-61BA-7C25-5B38D3D78DF7}"/>
          </ac:picMkLst>
        </pc:picChg>
        <pc:picChg chg="add mod">
          <ac:chgData name="Oğuz Öztekin" userId="33c0df0f-d5fe-4bda-8f43-141ad7af67e3" providerId="ADAL" clId="{7671717B-C626-45BA-B33A-078C0D9E0397}" dt="2024-12-12T11:23:08.949" v="799" actId="1076"/>
          <ac:picMkLst>
            <pc:docMk/>
            <pc:sldMk cId="1748462351" sldId="307"/>
            <ac:picMk id="13" creationId="{90C53157-345E-2384-065E-7BB163B3FB61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4" creationId="{6112D213-1467-A1FE-B736-33C02BE7F6F8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15" creationId="{F6BAB372-3E14-CF3C-6CFB-023D68A1D304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6" creationId="{70EE0CDC-94E9-6CBC-E4B2-7FF0CC565453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8" creationId="{29B8FE9A-C5D8-D792-3D3F-12CC24313AF5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0" creationId="{A913A2B2-5E7F-3E7E-F984-D46EEF051BDA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1" creationId="{1DD6DE78-AA9F-019A-FB68-B95C61F8484F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2" creationId="{DF6F7D4B-983C-B5BE-0E9D-54DE37D24963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4" creationId="{A0B2B44E-3265-A58A-8A8B-96DA7F587114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5" creationId="{1394FD88-A7B8-2F01-4B54-53C8DA108FF7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6" creationId="{297E7691-0EA3-E4F5-E466-3FC53D158F71}"/>
          </ac:picMkLst>
        </pc:picChg>
        <pc:picChg chg="add mod">
          <ac:chgData name="Oğuz Öztekin" userId="33c0df0f-d5fe-4bda-8f43-141ad7af67e3" providerId="ADAL" clId="{7671717B-C626-45BA-B33A-078C0D9E0397}" dt="2024-12-13T09:45:04.204" v="1238" actId="1076"/>
          <ac:picMkLst>
            <pc:docMk/>
            <pc:sldMk cId="1748462351" sldId="307"/>
            <ac:picMk id="27" creationId="{AC30774A-8C75-4740-72D0-C25AEFDF9CED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8" creationId="{7402307B-B59E-5010-8C5C-DA841C44B8C2}"/>
          </ac:picMkLst>
        </pc:picChg>
        <pc:picChg chg="add mod">
          <ac:chgData name="Oğuz Öztekin" userId="33c0df0f-d5fe-4bda-8f43-141ad7af67e3" providerId="ADAL" clId="{7671717B-C626-45BA-B33A-078C0D9E0397}" dt="2024-12-12T11:32:36.840" v="1036" actId="1076"/>
          <ac:picMkLst>
            <pc:docMk/>
            <pc:sldMk cId="1748462351" sldId="307"/>
            <ac:picMk id="30" creationId="{1CDD5B8C-DC23-968C-D034-B793EA9400E0}"/>
          </ac:picMkLst>
        </pc:picChg>
        <pc:picChg chg="add mod">
          <ac:chgData name="Oğuz Öztekin" userId="33c0df0f-d5fe-4bda-8f43-141ad7af67e3" providerId="ADAL" clId="{7671717B-C626-45BA-B33A-078C0D9E0397}" dt="2024-12-13T09:45:34.036" v="1244" actId="1076"/>
          <ac:picMkLst>
            <pc:docMk/>
            <pc:sldMk cId="1748462351" sldId="307"/>
            <ac:picMk id="32" creationId="{B192E07D-202F-7197-B30A-96384BA50A70}"/>
          </ac:picMkLst>
        </pc:picChg>
        <pc:picChg chg="add mod">
          <ac:chgData name="Oğuz Öztekin" userId="33c0df0f-d5fe-4bda-8f43-141ad7af67e3" providerId="ADAL" clId="{7671717B-C626-45BA-B33A-078C0D9E0397}" dt="2024-12-13T09:46:14.111" v="1250" actId="1076"/>
          <ac:picMkLst>
            <pc:docMk/>
            <pc:sldMk cId="1748462351" sldId="307"/>
            <ac:picMk id="35" creationId="{3121A895-D35A-85D9-305E-20DA48EEB996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6" creationId="{35E2AD43-4D06-23B8-061D-2154968E7B1B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7" creationId="{B75D2EFC-B501-C368-2D27-3AB600008FE5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8" creationId="{CDD41322-3125-8D5B-7F18-C1115942FB3D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9" creationId="{3A826874-8E92-64D5-3CBE-37443099F8CF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40" creationId="{3A074C9C-28A6-E020-7ABB-FF88E7DC7579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37.171" v="1279" actId="120"/>
        <pc:sldMkLst>
          <pc:docMk/>
          <pc:sldMk cId="1747725061" sldId="308"/>
        </pc:sldMkLst>
        <pc:spChg chg="mod">
          <ac:chgData name="Oğuz Öztekin" userId="33c0df0f-d5fe-4bda-8f43-141ad7af67e3" providerId="ADAL" clId="{7671717B-C626-45BA-B33A-078C0D9E0397}" dt="2024-12-13T09:37:30.011" v="1196"/>
          <ac:spMkLst>
            <pc:docMk/>
            <pc:sldMk cId="1747725061" sldId="308"/>
            <ac:spMk id="6" creationId="{A6299AE3-C4A4-BB44-72E6-AFE249253FE0}"/>
          </ac:spMkLst>
        </pc:spChg>
        <pc:spChg chg="add del">
          <ac:chgData name="Oğuz Öztekin" userId="33c0df0f-d5fe-4bda-8f43-141ad7af67e3" providerId="ADAL" clId="{7671717B-C626-45BA-B33A-078C0D9E0397}" dt="2024-12-13T09:39:36.291" v="1235" actId="478"/>
          <ac:spMkLst>
            <pc:docMk/>
            <pc:sldMk cId="1747725061" sldId="308"/>
            <ac:spMk id="7" creationId="{A5DA60A9-EB24-3043-08CE-0292EADB8C12}"/>
          </ac:spMkLst>
        </pc:spChg>
        <pc:spChg chg="mod">
          <ac:chgData name="Oğuz Öztekin" userId="33c0df0f-d5fe-4bda-8f43-141ad7af67e3" providerId="ADAL" clId="{7671717B-C626-45BA-B33A-078C0D9E0397}" dt="2024-12-13T09:38:08.421" v="1200" actId="20577"/>
          <ac:spMkLst>
            <pc:docMk/>
            <pc:sldMk cId="1747725061" sldId="308"/>
            <ac:spMk id="10" creationId="{6421C027-2F70-E607-8564-59E45FCD045C}"/>
          </ac:spMkLst>
        </pc:spChg>
        <pc:spChg chg="mod">
          <ac:chgData name="Oğuz Öztekin" userId="33c0df0f-d5fe-4bda-8f43-141ad7af67e3" providerId="ADAL" clId="{7671717B-C626-45BA-B33A-078C0D9E0397}" dt="2024-12-13T09:59:37.171" v="1279" actId="120"/>
          <ac:spMkLst>
            <pc:docMk/>
            <pc:sldMk cId="1747725061" sldId="308"/>
            <ac:spMk id="11" creationId="{B127E0A3-D90F-1CCF-A27A-B1266B802F3B}"/>
          </ac:spMkLst>
        </pc:spChg>
        <pc:spChg chg="add del mod">
          <ac:chgData name="Oğuz Öztekin" userId="33c0df0f-d5fe-4bda-8f43-141ad7af67e3" providerId="ADAL" clId="{7671717B-C626-45BA-B33A-078C0D9E0397}" dt="2024-12-13T09:39:33.271" v="1234" actId="478"/>
          <ac:spMkLst>
            <pc:docMk/>
            <pc:sldMk cId="1747725061" sldId="308"/>
            <ac:spMk id="14" creationId="{107F0153-4B3A-27CB-A6D5-91DE5296C08B}"/>
          </ac:spMkLst>
        </pc:spChg>
        <pc:spChg chg="mod">
          <ac:chgData name="Oğuz Öztekin" userId="33c0df0f-d5fe-4bda-8f43-141ad7af67e3" providerId="ADAL" clId="{7671717B-C626-45BA-B33A-078C0D9E0397}" dt="2024-12-13T09:39:27.048" v="1233" actId="20577"/>
          <ac:spMkLst>
            <pc:docMk/>
            <pc:sldMk cId="1747725061" sldId="308"/>
            <ac:spMk id="19" creationId="{08574BC3-1104-049B-01E5-8FC26CA72D60}"/>
          </ac:spMkLst>
        </pc:spChg>
        <pc:picChg chg="add mod">
          <ac:chgData name="Oğuz Öztekin" userId="33c0df0f-d5fe-4bda-8f43-141ad7af67e3" providerId="ADAL" clId="{7671717B-C626-45BA-B33A-078C0D9E0397}" dt="2024-12-13T09:31:09.615" v="1191" actId="1076"/>
          <ac:picMkLst>
            <pc:docMk/>
            <pc:sldMk cId="1747725061" sldId="308"/>
            <ac:picMk id="4" creationId="{5DA413CE-9B6E-465E-7A91-004D2B6202AA}"/>
          </ac:picMkLst>
        </pc:picChg>
        <pc:picChg chg="del">
          <ac:chgData name="Oğuz Öztekin" userId="33c0df0f-d5fe-4bda-8f43-141ad7af67e3" providerId="ADAL" clId="{7671717B-C626-45BA-B33A-078C0D9E0397}" dt="2024-12-13T09:31:03.522" v="1190" actId="478"/>
          <ac:picMkLst>
            <pc:docMk/>
            <pc:sldMk cId="1747725061" sldId="308"/>
            <ac:picMk id="20" creationId="{ADAEC535-C5F4-D11D-6764-4B7653507B3B}"/>
          </ac:picMkLst>
        </pc:picChg>
      </pc:sldChg>
      <pc:sldChg chg="new del">
        <pc:chgData name="Oğuz Öztekin" userId="33c0df0f-d5fe-4bda-8f43-141ad7af67e3" providerId="ADAL" clId="{7671717B-C626-45BA-B33A-078C0D9E0397}" dt="2024-12-12T11:18:35.248" v="792" actId="680"/>
        <pc:sldMkLst>
          <pc:docMk/>
          <pc:sldMk cId="3453439075" sldId="308"/>
        </pc:sldMkLst>
      </pc:sldChg>
      <pc:sldChg chg="addSp delSp modSp add mod">
        <pc:chgData name="Oğuz Öztekin" userId="33c0df0f-d5fe-4bda-8f43-141ad7af67e3" providerId="ADAL" clId="{7671717B-C626-45BA-B33A-078C0D9E0397}" dt="2024-12-13T09:59:59.345" v="1283" actId="120"/>
        <pc:sldMkLst>
          <pc:docMk/>
          <pc:sldMk cId="1902639763" sldId="309"/>
        </pc:sldMkLst>
        <pc:spChg chg="add del mod">
          <ac:chgData name="Oğuz Öztekin" userId="33c0df0f-d5fe-4bda-8f43-141ad7af67e3" providerId="ADAL" clId="{7671717B-C626-45BA-B33A-078C0D9E0397}" dt="2024-12-13T09:55:44.090" v="1266"/>
          <ac:spMkLst>
            <pc:docMk/>
            <pc:sldMk cId="1902639763" sldId="309"/>
            <ac:spMk id="6" creationId="{42F9CA57-9AC9-485D-8E35-AC92F9F2CDF4}"/>
          </ac:spMkLst>
        </pc:spChg>
        <pc:spChg chg="mod">
          <ac:chgData name="Oğuz Öztekin" userId="33c0df0f-d5fe-4bda-8f43-141ad7af67e3" providerId="ADAL" clId="{7671717B-C626-45BA-B33A-078C0D9E0397}" dt="2024-12-13T09:58:13.441" v="1272" actId="20577"/>
          <ac:spMkLst>
            <pc:docMk/>
            <pc:sldMk cId="1902639763" sldId="309"/>
            <ac:spMk id="10" creationId="{FAF7F267-6905-9C9B-EBF8-3709C9D9E30A}"/>
          </ac:spMkLst>
        </pc:spChg>
        <pc:spChg chg="mod">
          <ac:chgData name="Oğuz Öztekin" userId="33c0df0f-d5fe-4bda-8f43-141ad7af67e3" providerId="ADAL" clId="{7671717B-C626-45BA-B33A-078C0D9E0397}" dt="2024-12-13T09:59:59.345" v="1283" actId="120"/>
          <ac:spMkLst>
            <pc:docMk/>
            <pc:sldMk cId="1902639763" sldId="309"/>
            <ac:spMk id="11" creationId="{522605B3-EB7B-2511-CF19-59091C8A175A}"/>
          </ac:spMkLst>
        </pc:spChg>
        <pc:spChg chg="mod">
          <ac:chgData name="Oğuz Öztekin" userId="33c0df0f-d5fe-4bda-8f43-141ad7af67e3" providerId="ADAL" clId="{7671717B-C626-45BA-B33A-078C0D9E0397}" dt="2024-12-13T09:58:39.291" v="1274" actId="20577"/>
          <ac:spMkLst>
            <pc:docMk/>
            <pc:sldMk cId="1902639763" sldId="309"/>
            <ac:spMk id="19" creationId="{712A0505-DDE7-ACA3-3C15-38E3BC93F55F}"/>
          </ac:spMkLst>
        </pc:spChg>
        <pc:spChg chg="add del">
          <ac:chgData name="Oğuz Öztekin" userId="33c0df0f-d5fe-4bda-8f43-141ad7af67e3" providerId="ADAL" clId="{7671717B-C626-45BA-B33A-078C0D9E0397}" dt="2024-12-13T09:55:31.101" v="1264" actId="478"/>
          <ac:spMkLst>
            <pc:docMk/>
            <pc:sldMk cId="1902639763" sldId="309"/>
            <ac:spMk id="21" creationId="{150F8769-E1A1-EE0F-2655-12EBD4EE01D0}"/>
          </ac:spMkLst>
        </pc:spChg>
        <pc:spChg chg="add">
          <ac:chgData name="Oğuz Öztekin" userId="33c0df0f-d5fe-4bda-8f43-141ad7af67e3" providerId="ADAL" clId="{7671717B-C626-45BA-B33A-078C0D9E0397}" dt="2024-12-13T09:55:33.815" v="1265"/>
          <ac:spMkLst>
            <pc:docMk/>
            <pc:sldMk cId="1902639763" sldId="309"/>
            <ac:spMk id="23" creationId="{717F5F8B-D476-7D38-0A83-E896921E5033}"/>
          </ac:spMkLst>
        </pc:spChg>
        <pc:picChg chg="add mod">
          <ac:chgData name="Oğuz Öztekin" userId="33c0df0f-d5fe-4bda-8f43-141ad7af67e3" providerId="ADAL" clId="{7671717B-C626-45BA-B33A-078C0D9E0397}" dt="2024-12-13T09:53:57.692" v="1254" actId="1076"/>
          <ac:picMkLst>
            <pc:docMk/>
            <pc:sldMk cId="1902639763" sldId="309"/>
            <ac:picMk id="15" creationId="{70128AB4-BD33-D1A4-063E-619DC7D65897}"/>
          </ac:picMkLst>
        </pc:picChg>
        <pc:picChg chg="add mod">
          <ac:chgData name="Oğuz Öztekin" userId="33c0df0f-d5fe-4bda-8f43-141ad7af67e3" providerId="ADAL" clId="{7671717B-C626-45BA-B33A-078C0D9E0397}" dt="2024-12-13T09:54:52.310" v="1259" actId="1076"/>
          <ac:picMkLst>
            <pc:docMk/>
            <pc:sldMk cId="1902639763" sldId="309"/>
            <ac:picMk id="20" creationId="{C251216A-E148-9A24-A91C-13437A1E3F46}"/>
          </ac:picMkLst>
        </pc:picChg>
        <pc:picChg chg="del">
          <ac:chgData name="Oğuz Öztekin" userId="33c0df0f-d5fe-4bda-8f43-141ad7af67e3" providerId="ADAL" clId="{7671717B-C626-45BA-B33A-078C0D9E0397}" dt="2024-12-13T09:54:54.512" v="1260" actId="478"/>
          <ac:picMkLst>
            <pc:docMk/>
            <pc:sldMk cId="1902639763" sldId="309"/>
            <ac:picMk id="22" creationId="{9D39AD0A-ECB6-EF7A-2A76-812481A33726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10:12:40.936" v="1424" actId="1076"/>
        <pc:sldMkLst>
          <pc:docMk/>
          <pc:sldMk cId="3251755664" sldId="310"/>
        </pc:sldMkLst>
        <pc:spChg chg="mod">
          <ac:chgData name="Oğuz Öztekin" userId="33c0df0f-d5fe-4bda-8f43-141ad7af67e3" providerId="ADAL" clId="{7671717B-C626-45BA-B33A-078C0D9E0397}" dt="2024-12-13T10:07:28.176" v="1298"/>
          <ac:spMkLst>
            <pc:docMk/>
            <pc:sldMk cId="3251755664" sldId="310"/>
            <ac:spMk id="6" creationId="{5FCC7BD8-90E8-4472-6277-4C2E226C8102}"/>
          </ac:spMkLst>
        </pc:spChg>
        <pc:spChg chg="mod">
          <ac:chgData name="Oğuz Öztekin" userId="33c0df0f-d5fe-4bda-8f43-141ad7af67e3" providerId="ADAL" clId="{7671717B-C626-45BA-B33A-078C0D9E0397}" dt="2024-12-13T10:07:52.246" v="1300"/>
          <ac:spMkLst>
            <pc:docMk/>
            <pc:sldMk cId="3251755664" sldId="310"/>
            <ac:spMk id="10" creationId="{91EEC987-7B96-20DD-DAF0-995BE014610F}"/>
          </ac:spMkLst>
        </pc:spChg>
        <pc:spChg chg="mod">
          <ac:chgData name="Oğuz Öztekin" userId="33c0df0f-d5fe-4bda-8f43-141ad7af67e3" providerId="ADAL" clId="{7671717B-C626-45BA-B33A-078C0D9E0397}" dt="2024-12-13T10:10:35.527" v="1386"/>
          <ac:spMkLst>
            <pc:docMk/>
            <pc:sldMk cId="3251755664" sldId="310"/>
            <ac:spMk id="11" creationId="{A891A715-84AD-8964-FE61-96F0E4349B3F}"/>
          </ac:spMkLst>
        </pc:spChg>
        <pc:spChg chg="mod">
          <ac:chgData name="Oğuz Öztekin" userId="33c0df0f-d5fe-4bda-8f43-141ad7af67e3" providerId="ADAL" clId="{7671717B-C626-45BA-B33A-078C0D9E0397}" dt="2024-12-13T10:00:48.734" v="1289" actId="20577"/>
          <ac:spMkLst>
            <pc:docMk/>
            <pc:sldMk cId="3251755664" sldId="310"/>
            <ac:spMk id="19" creationId="{2B1F84A3-7076-A998-F179-721E85CF295C}"/>
          </ac:spMkLst>
        </pc:spChg>
        <pc:spChg chg="add">
          <ac:chgData name="Oğuz Öztekin" userId="33c0df0f-d5fe-4bda-8f43-141ad7af67e3" providerId="ADAL" clId="{7671717B-C626-45BA-B33A-078C0D9E0397}" dt="2024-12-13T10:07:45.557" v="1299"/>
          <ac:spMkLst>
            <pc:docMk/>
            <pc:sldMk cId="3251755664" sldId="310"/>
            <ac:spMk id="22" creationId="{1D56C7B5-BF33-1C9F-F27A-98D4FA69958F}"/>
          </ac:spMkLst>
        </pc:spChg>
        <pc:spChg chg="add mod">
          <ac:chgData name="Oğuz Öztekin" userId="33c0df0f-d5fe-4bda-8f43-141ad7af67e3" providerId="ADAL" clId="{7671717B-C626-45BA-B33A-078C0D9E0397}" dt="2024-12-13T10:12:40.936" v="1424" actId="1076"/>
          <ac:spMkLst>
            <pc:docMk/>
            <pc:sldMk cId="3251755664" sldId="310"/>
            <ac:spMk id="23" creationId="{4EA7485F-F05C-9052-5585-AC0A62985D56}"/>
          </ac:spMkLst>
        </pc:spChg>
        <pc:picChg chg="add mod">
          <ac:chgData name="Oğuz Öztekin" userId="33c0df0f-d5fe-4bda-8f43-141ad7af67e3" providerId="ADAL" clId="{7671717B-C626-45BA-B33A-078C0D9E0397}" dt="2024-12-13T10:05:57.694" v="1295" actId="1076"/>
          <ac:picMkLst>
            <pc:docMk/>
            <pc:sldMk cId="3251755664" sldId="310"/>
            <ac:picMk id="3" creationId="{736FF474-5BF4-BD84-AA38-D2C594154844}"/>
          </ac:picMkLst>
        </pc:picChg>
        <pc:picChg chg="del">
          <ac:chgData name="Oğuz Öztekin" userId="33c0df0f-d5fe-4bda-8f43-141ad7af67e3" providerId="ADAL" clId="{7671717B-C626-45BA-B33A-078C0D9E0397}" dt="2024-12-13T10:05:53.873" v="1294" actId="478"/>
          <ac:picMkLst>
            <pc:docMk/>
            <pc:sldMk cId="3251755664" sldId="310"/>
            <ac:picMk id="20" creationId="{549DBFF8-639D-44A0-8AFC-B4DFBC076F82}"/>
          </ac:picMkLst>
        </pc:picChg>
        <pc:picChg chg="add mod">
          <ac:chgData name="Oğuz Öztekin" userId="33c0df0f-d5fe-4bda-8f43-141ad7af67e3" providerId="ADAL" clId="{7671717B-C626-45BA-B33A-078C0D9E0397}" dt="2024-12-13T10:07:05.065" v="1297" actId="1076"/>
          <ac:picMkLst>
            <pc:docMk/>
            <pc:sldMk cId="3251755664" sldId="310"/>
            <ac:picMk id="21" creationId="{3FECAC49-8750-EF58-B9E1-CDB57F3242A7}"/>
          </ac:picMkLst>
        </pc:picChg>
      </pc:sldChg>
    </pc:docChg>
  </pc:docChgLst>
  <pc:docChgLst>
    <pc:chgData name="Oğuz Öztekin" userId="S::oguz.oztekin@fintegral.com.tr::33c0df0f-d5fe-4bda-8f43-141ad7af67e3" providerId="AD" clId="Web-{1B90220F-A66B-1038-7D52-F74812BA8E8B}"/>
    <pc:docChg chg="modSld">
      <pc:chgData name="Oğuz Öztekin" userId="S::oguz.oztekin@fintegral.com.tr::33c0df0f-d5fe-4bda-8f43-141ad7af67e3" providerId="AD" clId="Web-{1B90220F-A66B-1038-7D52-F74812BA8E8B}" dt="2024-12-04T12:39:06.232" v="43"/>
      <pc:docMkLst>
        <pc:docMk/>
      </pc:docMkLst>
      <pc:sldChg chg="addSp">
        <pc:chgData name="Oğuz Öztekin" userId="S::oguz.oztekin@fintegral.com.tr::33c0df0f-d5fe-4bda-8f43-141ad7af67e3" providerId="AD" clId="Web-{1B90220F-A66B-1038-7D52-F74812BA8E8B}" dt="2024-12-04T12:39:03.216" v="40"/>
        <pc:sldMkLst>
          <pc:docMk/>
          <pc:sldMk cId="1507332737" sldId="264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3.904" v="41"/>
        <pc:sldMkLst>
          <pc:docMk/>
          <pc:sldMk cId="3866243125" sldId="265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4.841" v="42"/>
        <pc:sldMkLst>
          <pc:docMk/>
          <pc:sldMk cId="173792906" sldId="282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6.232" v="43"/>
        <pc:sldMkLst>
          <pc:docMk/>
          <pc:sldMk cId="2458421258" sldId="283"/>
        </pc:sldMkLst>
      </pc:sldChg>
      <pc:sldChg chg="addSp modSp">
        <pc:chgData name="Oğuz Öztekin" userId="S::oguz.oztekin@fintegral.com.tr::33c0df0f-d5fe-4bda-8f43-141ad7af67e3" providerId="AD" clId="Web-{1B90220F-A66B-1038-7D52-F74812BA8E8B}" dt="2024-12-04T12:38:56.888" v="39" actId="20577"/>
        <pc:sldMkLst>
          <pc:docMk/>
          <pc:sldMk cId="3193571855" sldId="290"/>
        </pc:sldMkLst>
      </pc:sldChg>
    </pc:docChg>
  </pc:docChgLst>
  <pc:docChgLst>
    <pc:chgData name="Batuhan Yelseli" userId="S::batuhan.yelseli@fintegral.com.tr::e1126a1f-d490-470b-80e9-57d2ed9dcaf7" providerId="AD" clId="Web-{5B832214-4DFE-9D95-D9FE-08F31E7EEED1}"/>
    <pc:docChg chg="modSld">
      <pc:chgData name="Batuhan Yelseli" userId="S::batuhan.yelseli@fintegral.com.tr::e1126a1f-d490-470b-80e9-57d2ed9dcaf7" providerId="AD" clId="Web-{5B832214-4DFE-9D95-D9FE-08F31E7EEED1}" dt="2024-12-06T12:42:23.445" v="270"/>
      <pc:docMkLst>
        <pc:docMk/>
      </pc:docMkLst>
      <pc:sldChg chg="addSp modSp">
        <pc:chgData name="Batuhan Yelseli" userId="S::batuhan.yelseli@fintegral.com.tr::e1126a1f-d490-470b-80e9-57d2ed9dcaf7" providerId="AD" clId="Web-{5B832214-4DFE-9D95-D9FE-08F31E7EEED1}" dt="2024-12-06T12:42:23.445" v="270"/>
        <pc:sldMkLst>
          <pc:docMk/>
          <pc:sldMk cId="3259337092" sldId="273"/>
        </pc:sldMkLst>
        <pc:graphicFrameChg chg="add mod modGraphic">
          <ac:chgData name="Batuhan Yelseli" userId="S::batuhan.yelseli@fintegral.com.tr::e1126a1f-d490-470b-80e9-57d2ed9dcaf7" providerId="AD" clId="Web-{5B832214-4DFE-9D95-D9FE-08F31E7EEED1}" dt="2024-12-06T12:42:23.445" v="270"/>
          <ac:graphicFrameMkLst>
            <pc:docMk/>
            <pc:sldMk cId="3259337092" sldId="273"/>
            <ac:graphicFrameMk id="3" creationId="{B3047D55-66B9-32C6-D401-827FEF4B8A06}"/>
          </ac:graphicFrameMkLst>
        </pc:graphicFrameChg>
      </pc:sldChg>
    </pc:docChg>
  </pc:docChgLst>
  <pc:docChgLst>
    <pc:chgData name="Batuhan Yelseli" userId="S::batuhan.yelseli@fintegral.com.tr::e1126a1f-d490-470b-80e9-57d2ed9dcaf7" providerId="AD" clId="Web-{BE8A6BB6-3078-C9F1-ACBB-5A755F9368BB}"/>
    <pc:docChg chg="delSld modSld">
      <pc:chgData name="Batuhan Yelseli" userId="S::batuhan.yelseli@fintegral.com.tr::e1126a1f-d490-470b-80e9-57d2ed9dcaf7" providerId="AD" clId="Web-{BE8A6BB6-3078-C9F1-ACBB-5A755F9368BB}" dt="2024-12-04T12:24:05.377" v="39" actId="20577"/>
      <pc:docMkLst>
        <pc:docMk/>
      </pc:docMkLst>
      <pc:sldChg chg="del">
        <pc:chgData name="Batuhan Yelseli" userId="S::batuhan.yelseli@fintegral.com.tr::e1126a1f-d490-470b-80e9-57d2ed9dcaf7" providerId="AD" clId="Web-{BE8A6BB6-3078-C9F1-ACBB-5A755F9368BB}" dt="2024-12-04T11:20:25.918" v="0"/>
        <pc:sldMkLst>
          <pc:docMk/>
          <pc:sldMk cId="0" sldId="261"/>
        </pc:sldMkLst>
      </pc:sldChg>
      <pc:sldChg chg="modSp">
        <pc:chgData name="Batuhan Yelseli" userId="S::batuhan.yelseli@fintegral.com.tr::e1126a1f-d490-470b-80e9-57d2ed9dcaf7" providerId="AD" clId="Web-{BE8A6BB6-3078-C9F1-ACBB-5A755F9368BB}" dt="2024-12-04T12:22:29.483" v="1" actId="1076"/>
        <pc:sldMkLst>
          <pc:docMk/>
          <pc:sldMk cId="3866243125" sldId="265"/>
        </pc:sldMkLst>
        <pc:picChg chg="mod">
          <ac:chgData name="Batuhan Yelseli" userId="S::batuhan.yelseli@fintegral.com.tr::e1126a1f-d490-470b-80e9-57d2ed9dcaf7" providerId="AD" clId="Web-{BE8A6BB6-3078-C9F1-ACBB-5A755F9368BB}" dt="2024-12-04T12:22:29.483" v="1" actId="1076"/>
          <ac:picMkLst>
            <pc:docMk/>
            <pc:sldMk cId="3866243125" sldId="265"/>
            <ac:picMk id="8" creationId="{8E2DEDDD-6994-65A4-B8E0-F8F82C179CAF}"/>
          </ac:picMkLst>
        </pc:picChg>
      </pc:sldChg>
      <pc:sldChg chg="addSp modSp">
        <pc:chgData name="Batuhan Yelseli" userId="S::batuhan.yelseli@fintegral.com.tr::e1126a1f-d490-470b-80e9-57d2ed9dcaf7" providerId="AD" clId="Web-{BE8A6BB6-3078-C9F1-ACBB-5A755F9368BB}" dt="2024-12-04T12:24:05.377" v="39" actId="20577"/>
        <pc:sldMkLst>
          <pc:docMk/>
          <pc:sldMk cId="173792906" sldId="282"/>
        </pc:sldMkLst>
      </pc:sldChg>
      <pc:sldChg chg="modSp">
        <pc:chgData name="Batuhan Yelseli" userId="S::batuhan.yelseli@fintegral.com.tr::e1126a1f-d490-470b-80e9-57d2ed9dcaf7" providerId="AD" clId="Web-{BE8A6BB6-3078-C9F1-ACBB-5A755F9368BB}" dt="2024-12-04T12:22:34.171" v="2" actId="1076"/>
        <pc:sldMkLst>
          <pc:docMk/>
          <pc:sldMk cId="3193571855" sldId="290"/>
        </pc:sldMkLst>
      </pc:sldChg>
    </pc:docChg>
  </pc:docChgLst>
  <pc:docChgLst>
    <pc:chgData name="Batuhan Yelseli" userId="S::batuhan.yelseli@fintegral.com.tr::e1126a1f-d490-470b-80e9-57d2ed9dcaf7" providerId="AD" clId="Web-{EA99BAC2-647C-628C-4699-C2FD74E1FD35}"/>
    <pc:docChg chg="addSld modSld">
      <pc:chgData name="Batuhan Yelseli" userId="S::batuhan.yelseli@fintegral.com.tr::e1126a1f-d490-470b-80e9-57d2ed9dcaf7" providerId="AD" clId="Web-{EA99BAC2-647C-628C-4699-C2FD74E1FD35}" dt="2024-12-04T11:14:21.289" v="396" actId="1076"/>
      <pc:docMkLst>
        <pc:docMk/>
      </pc:docMkLst>
      <pc:sldChg chg="addSp delSp modSp">
        <pc:chgData name="Batuhan Yelseli" userId="S::batuhan.yelseli@fintegral.com.tr::e1126a1f-d490-470b-80e9-57d2ed9dcaf7" providerId="AD" clId="Web-{EA99BAC2-647C-628C-4699-C2FD74E1FD35}" dt="2024-12-04T11:02:07.938" v="159" actId="20577"/>
        <pc:sldMkLst>
          <pc:docMk/>
          <pc:sldMk cId="0" sldId="257"/>
        </pc:sldMkLst>
        <pc:spChg chg="mod">
          <ac:chgData name="Batuhan Yelseli" userId="S::batuhan.yelseli@fintegral.com.tr::e1126a1f-d490-470b-80e9-57d2ed9dcaf7" providerId="AD" clId="Web-{EA99BAC2-647C-628C-4699-C2FD74E1FD35}" dt="2024-12-04T10:56:50.554" v="12" actId="20577"/>
          <ac:spMkLst>
            <pc:docMk/>
            <pc:sldMk cId="0" sldId="257"/>
            <ac:spMk id="4" creationId="{32E6913F-B29A-099E-A738-7ED96DCE72A9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0:57:00.992" v="36" actId="20577"/>
          <ac:spMkLst>
            <pc:docMk/>
            <pc:sldMk cId="0" sldId="257"/>
            <ac:spMk id="7" creationId="{896D15E7-BB90-4A37-3DF5-B74860808388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1:01:23.046" v="145" actId="20577"/>
          <ac:spMkLst>
            <pc:docMk/>
            <pc:sldMk cId="0" sldId="257"/>
            <ac:spMk id="10" creationId="{2D3A8575-5F7F-F089-2FC2-9114FEA0A98B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1:02:07.938" v="159" actId="20577"/>
          <ac:spMkLst>
            <pc:docMk/>
            <pc:sldMk cId="0" sldId="257"/>
            <ac:spMk id="13" creationId="{993E1443-C725-EB95-2DC0-BCE39F75E2CC}"/>
          </ac:spMkLst>
        </pc:spChg>
        <pc:grpChg chg="mod">
          <ac:chgData name="Batuhan Yelseli" userId="S::batuhan.yelseli@fintegral.com.tr::e1126a1f-d490-470b-80e9-57d2ed9dcaf7" providerId="AD" clId="Web-{EA99BAC2-647C-628C-4699-C2FD74E1FD35}" dt="2024-12-04T11:01:59.891" v="147" actId="1076"/>
          <ac:grpSpMkLst>
            <pc:docMk/>
            <pc:sldMk cId="0" sldId="257"/>
            <ac:grpSpMk id="9" creationId="{88E72CAF-7ACF-B8A3-E95B-09033262E177}"/>
          </ac:grpSpMkLst>
        </pc:grpChg>
        <pc:grpChg chg="add mod">
          <ac:chgData name="Batuhan Yelseli" userId="S::batuhan.yelseli@fintegral.com.tr::e1126a1f-d490-470b-80e9-57d2ed9dcaf7" providerId="AD" clId="Web-{EA99BAC2-647C-628C-4699-C2FD74E1FD35}" dt="2024-12-04T11:02:03.751" v="150" actId="1076"/>
          <ac:grpSpMkLst>
            <pc:docMk/>
            <pc:sldMk cId="0" sldId="257"/>
            <ac:grpSpMk id="12" creationId="{6976BC80-68D3-633D-41E2-04C7BC09A752}"/>
          </ac:grpSpMkLst>
        </pc:grpChg>
        <pc:cxnChg chg="mod">
          <ac:chgData name="Batuhan Yelseli" userId="S::batuhan.yelseli@fintegral.com.tr::e1126a1f-d490-470b-80e9-57d2ed9dcaf7" providerId="AD" clId="Web-{EA99BAC2-647C-628C-4699-C2FD74E1FD35}" dt="2024-12-04T11:02:00.579" v="148"/>
          <ac:cxnSpMkLst>
            <pc:docMk/>
            <pc:sldMk cId="0" sldId="257"/>
            <ac:cxnSpMk id="14" creationId="{07E268E6-6494-F45A-1D6D-A571D74A286C}"/>
          </ac:cxnSpMkLst>
        </pc:cxnChg>
      </pc:sldChg>
      <pc:sldChg chg="addSp modSp">
        <pc:chgData name="Batuhan Yelseli" userId="S::batuhan.yelseli@fintegral.com.tr::e1126a1f-d490-470b-80e9-57d2ed9dcaf7" providerId="AD" clId="Web-{EA99BAC2-647C-628C-4699-C2FD74E1FD35}" dt="2024-12-04T11:14:21.289" v="396" actId="1076"/>
        <pc:sldMkLst>
          <pc:docMk/>
          <pc:sldMk cId="0" sldId="261"/>
        </pc:sldMkLst>
      </pc:sldChg>
      <pc:sldChg chg="modSp">
        <pc:chgData name="Batuhan Yelseli" userId="S::batuhan.yelseli@fintegral.com.tr::e1126a1f-d490-470b-80e9-57d2ed9dcaf7" providerId="AD" clId="Web-{EA99BAC2-647C-628C-4699-C2FD74E1FD35}" dt="2024-12-04T11:14:20.586" v="395" actId="1076"/>
        <pc:sldMkLst>
          <pc:docMk/>
          <pc:sldMk cId="1507332737" sldId="264"/>
        </pc:sldMkLst>
        <pc:spChg chg="mod">
          <ac:chgData name="Batuhan Yelseli" userId="S::batuhan.yelseli@fintegral.com.tr::e1126a1f-d490-470b-80e9-57d2ed9dcaf7" providerId="AD" clId="Web-{EA99BAC2-647C-628C-4699-C2FD74E1FD35}" dt="2024-12-04T11:14:20.586" v="395" actId="1076"/>
          <ac:spMkLst>
            <pc:docMk/>
            <pc:sldMk cId="1507332737" sldId="264"/>
            <ac:spMk id="2" creationId="{3670ECD0-6FB7-2503-EA31-65B17D888D52}"/>
          </ac:spMkLst>
        </pc:spChg>
      </pc:sldChg>
      <pc:sldChg chg="modSp">
        <pc:chgData name="Batuhan Yelseli" userId="S::batuhan.yelseli@fintegral.com.tr::e1126a1f-d490-470b-80e9-57d2ed9dcaf7" providerId="AD" clId="Web-{EA99BAC2-647C-628C-4699-C2FD74E1FD35}" dt="2024-12-04T11:00:26.435" v="116" actId="20577"/>
        <pc:sldMkLst>
          <pc:docMk/>
          <pc:sldMk cId="181281364" sldId="266"/>
        </pc:sldMkLst>
        <pc:spChg chg="mod">
          <ac:chgData name="Batuhan Yelseli" userId="S::batuhan.yelseli@fintegral.com.tr::e1126a1f-d490-470b-80e9-57d2ed9dcaf7" providerId="AD" clId="Web-{EA99BAC2-647C-628C-4699-C2FD74E1FD35}" dt="2024-12-04T11:00:26.435" v="116" actId="20577"/>
          <ac:spMkLst>
            <pc:docMk/>
            <pc:sldMk cId="181281364" sldId="266"/>
            <ac:spMk id="69" creationId="{B80DEEB7-0BE6-8121-AB46-4D9A1782C3C9}"/>
          </ac:spMkLst>
        </pc:spChg>
      </pc:sldChg>
      <pc:sldChg chg="modSp new">
        <pc:chgData name="Batuhan Yelseli" userId="S::batuhan.yelseli@fintegral.com.tr::e1126a1f-d490-470b-80e9-57d2ed9dcaf7" providerId="AD" clId="Web-{EA99BAC2-647C-628C-4699-C2FD74E1FD35}" dt="2024-12-04T10:58:54.511" v="89" actId="20577"/>
        <pc:sldMkLst>
          <pc:docMk/>
          <pc:sldMk cId="173792906" sldId="282"/>
        </pc:sldMkLst>
        <pc:spChg chg="mod">
          <ac:chgData name="Batuhan Yelseli" userId="S::batuhan.yelseli@fintegral.com.tr::e1126a1f-d490-470b-80e9-57d2ed9dcaf7" providerId="AD" clId="Web-{EA99BAC2-647C-628C-4699-C2FD74E1FD35}" dt="2024-12-04T10:58:54.511" v="89" actId="20577"/>
          <ac:spMkLst>
            <pc:docMk/>
            <pc:sldMk cId="173792906" sldId="282"/>
            <ac:spMk id="2" creationId="{BB164071-5427-ED98-0F3B-A2D0AFAA2D33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0:59:20.590" v="90"/>
        <pc:sldMkLst>
          <pc:docMk/>
          <pc:sldMk cId="2458421258" sldId="283"/>
        </pc:sldMkLst>
      </pc:sldChg>
      <pc:sldChg chg="add replId">
        <pc:chgData name="Batuhan Yelseli" userId="S::batuhan.yelseli@fintegral.com.tr::e1126a1f-d490-470b-80e9-57d2ed9dcaf7" providerId="AD" clId="Web-{EA99BAC2-647C-628C-4699-C2FD74E1FD35}" dt="2024-12-04T10:59:20.808" v="91"/>
        <pc:sldMkLst>
          <pc:docMk/>
          <pc:sldMk cId="1799373561" sldId="284"/>
        </pc:sldMkLst>
      </pc:sldChg>
      <pc:sldChg chg="modSp new">
        <pc:chgData name="Batuhan Yelseli" userId="S::batuhan.yelseli@fintegral.com.tr::e1126a1f-d490-470b-80e9-57d2ed9dcaf7" providerId="AD" clId="Web-{EA99BAC2-647C-628C-4699-C2FD74E1FD35}" dt="2024-12-04T10:59:38.356" v="105" actId="20577"/>
        <pc:sldMkLst>
          <pc:docMk/>
          <pc:sldMk cId="1730444853" sldId="285"/>
        </pc:sldMkLst>
        <pc:spChg chg="mod">
          <ac:chgData name="Batuhan Yelseli" userId="S::batuhan.yelseli@fintegral.com.tr::e1126a1f-d490-470b-80e9-57d2ed9dcaf7" providerId="AD" clId="Web-{EA99BAC2-647C-628C-4699-C2FD74E1FD35}" dt="2024-12-04T10:59:38.356" v="105" actId="20577"/>
          <ac:spMkLst>
            <pc:docMk/>
            <pc:sldMk cId="1730444853" sldId="285"/>
            <ac:spMk id="2" creationId="{D47425B2-E745-8317-0702-31CCF8CA37D4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1:00:12.388" v="106"/>
        <pc:sldMkLst>
          <pc:docMk/>
          <pc:sldMk cId="2972345480" sldId="286"/>
        </pc:sldMkLst>
      </pc:sldChg>
      <pc:sldChg chg="addSp modSp new mod modClrScheme chgLayout">
        <pc:chgData name="Batuhan Yelseli" userId="S::batuhan.yelseli@fintegral.com.tr::e1126a1f-d490-470b-80e9-57d2ed9dcaf7" providerId="AD" clId="Web-{EA99BAC2-647C-628C-4699-C2FD74E1FD35}" dt="2024-12-04T11:00:41.170" v="120"/>
        <pc:sldMkLst>
          <pc:docMk/>
          <pc:sldMk cId="1173608751" sldId="287"/>
        </pc:sldMkLst>
        <pc:spChg chg="add mod">
          <ac:chgData name="Batuhan Yelseli" userId="S::batuhan.yelseli@fintegral.com.tr::e1126a1f-d490-470b-80e9-57d2ed9dcaf7" providerId="AD" clId="Web-{EA99BAC2-647C-628C-4699-C2FD74E1FD35}" dt="2024-12-04T11:00:34.686" v="119" actId="20577"/>
          <ac:spMkLst>
            <pc:docMk/>
            <pc:sldMk cId="1173608751" sldId="287"/>
            <ac:spMk id="3" creationId="{3B884AE8-AD3B-E839-2770-B3E561E81E22}"/>
          </ac:spMkLst>
        </pc:spChg>
        <pc:spChg chg="add mod ord">
          <ac:chgData name="Batuhan Yelseli" userId="S::batuhan.yelseli@fintegral.com.tr::e1126a1f-d490-470b-80e9-57d2ed9dcaf7" providerId="AD" clId="Web-{EA99BAC2-647C-628C-4699-C2FD74E1FD35}" dt="2024-12-04T11:00:41.170" v="120"/>
          <ac:spMkLst>
            <pc:docMk/>
            <pc:sldMk cId="1173608751" sldId="287"/>
            <ac:spMk id="4" creationId="{04F8A6F9-8B7F-00E6-1305-E899E193354E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1:00:46.358" v="121"/>
        <pc:sldMkLst>
          <pc:docMk/>
          <pc:sldMk cId="807331676" sldId="288"/>
        </pc:sldMkLst>
      </pc:sldChg>
      <pc:sldChg chg="add replId">
        <pc:chgData name="Batuhan Yelseli" userId="S::batuhan.yelseli@fintegral.com.tr::e1126a1f-d490-470b-80e9-57d2ed9dcaf7" providerId="AD" clId="Web-{EA99BAC2-647C-628C-4699-C2FD74E1FD35}" dt="2024-12-04T11:00:48.030" v="122"/>
        <pc:sldMkLst>
          <pc:docMk/>
          <pc:sldMk cId="1381465311" sldId="289"/>
        </pc:sldMkLst>
      </pc:sldChg>
    </pc:docChg>
  </pc:docChgLst>
  <pc:docChgLst>
    <pc:chgData name="Batuhan Yelseli" userId="S::batuhan.yelseli@fintegral.com.tr::e1126a1f-d490-470b-80e9-57d2ed9dcaf7" providerId="AD" clId="Web-{206B58CE-643E-501E-D527-55D3BB36F8D1}"/>
    <pc:docChg chg="modSld">
      <pc:chgData name="Batuhan Yelseli" userId="S::batuhan.yelseli@fintegral.com.tr::e1126a1f-d490-470b-80e9-57d2ed9dcaf7" providerId="AD" clId="Web-{206B58CE-643E-501E-D527-55D3BB36F8D1}" dt="2024-12-06T11:34:57.929" v="3" actId="14100"/>
      <pc:docMkLst>
        <pc:docMk/>
      </pc:docMkLst>
      <pc:sldChg chg="modSp">
        <pc:chgData name="Batuhan Yelseli" userId="S::batuhan.yelseli@fintegral.com.tr::e1126a1f-d490-470b-80e9-57d2ed9dcaf7" providerId="AD" clId="Web-{206B58CE-643E-501E-D527-55D3BB36F8D1}" dt="2024-12-06T11:34:57.929" v="3" actId="14100"/>
        <pc:sldMkLst>
          <pc:docMk/>
          <pc:sldMk cId="1122526701" sldId="268"/>
        </pc:sldMkLst>
        <pc:spChg chg="mod">
          <ac:chgData name="Batuhan Yelseli" userId="S::batuhan.yelseli@fintegral.com.tr::e1126a1f-d490-470b-80e9-57d2ed9dcaf7" providerId="AD" clId="Web-{206B58CE-643E-501E-D527-55D3BB36F8D1}" dt="2024-12-06T11:34:57.929" v="3" actId="14100"/>
          <ac:spMkLst>
            <pc:docMk/>
            <pc:sldMk cId="1122526701" sldId="268"/>
            <ac:spMk id="6" creationId="{98BE2231-AF47-32B4-4272-64530E7F55A2}"/>
          </ac:spMkLst>
        </pc:spChg>
        <pc:picChg chg="mod">
          <ac:chgData name="Batuhan Yelseli" userId="S::batuhan.yelseli@fintegral.com.tr::e1126a1f-d490-470b-80e9-57d2ed9dcaf7" providerId="AD" clId="Web-{206B58CE-643E-501E-D527-55D3BB36F8D1}" dt="2024-12-06T11:34:51.288" v="0" actId="1076"/>
          <ac:picMkLst>
            <pc:docMk/>
            <pc:sldMk cId="1122526701" sldId="268"/>
            <ac:picMk id="3" creationId="{6BA49D2D-CD86-4AFE-7766-6FAB6BCD9078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863230636337463E-3"/>
          <c:y val="4.1599999999999998E-2"/>
          <c:w val="0.88367405701122947"/>
          <c:h val="0.916799999999999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4057782.968999997</c:v>
                </c:pt>
                <c:pt idx="1">
                  <c:v>49339728.566</c:v>
                </c:pt>
                <c:pt idx="2">
                  <c:v>52004845.452</c:v>
                </c:pt>
                <c:pt idx="3">
                  <c:v>46276005.862999998</c:v>
                </c:pt>
                <c:pt idx="4">
                  <c:v>45864868.027999997</c:v>
                </c:pt>
                <c:pt idx="5">
                  <c:v>46242838.098999999</c:v>
                </c:pt>
                <c:pt idx="6">
                  <c:v>47511100.943000004</c:v>
                </c:pt>
                <c:pt idx="7">
                  <c:v>47759685.836000003</c:v>
                </c:pt>
                <c:pt idx="8">
                  <c:v>44068860.835000001</c:v>
                </c:pt>
                <c:pt idx="9">
                  <c:v>55372204.410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09-4FF0-A509-3672560F9D95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370432661.03799999</c:v>
                </c:pt>
                <c:pt idx="1">
                  <c:v>404765658.36000001</c:v>
                </c:pt>
                <c:pt idx="2">
                  <c:v>404860279.40100002</c:v>
                </c:pt>
                <c:pt idx="3">
                  <c:v>361425100.16100001</c:v>
                </c:pt>
                <c:pt idx="4">
                  <c:v>358511912.54400003</c:v>
                </c:pt>
                <c:pt idx="5">
                  <c:v>392797816.92699999</c:v>
                </c:pt>
                <c:pt idx="6">
                  <c:v>398575871.12599999</c:v>
                </c:pt>
                <c:pt idx="7">
                  <c:v>385052427.81999999</c:v>
                </c:pt>
                <c:pt idx="8">
                  <c:v>388456798.85699999</c:v>
                </c:pt>
                <c:pt idx="9">
                  <c:v>481522501.038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09-4FF0-A509-3672560F9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7082864"/>
        <c:axId val="1"/>
      </c:barChart>
      <c:catAx>
        <c:axId val="677082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77082864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737261852015948E-2"/>
          <c:y val="4.1599999999999998E-2"/>
          <c:w val="0.90651307044749663"/>
          <c:h val="0.91679999999999995"/>
        </c:manualLayout>
      </c:layout>
      <c:barChart>
        <c:barDir val="col"/>
        <c:grouping val="clustered"/>
        <c:varyColors val="0"/>
        <c:ser>
          <c:idx val="1"/>
          <c:order val="1"/>
          <c:invertIfNegative val="0"/>
          <c:extLst>
            <c:ext xmlns:c16="http://schemas.microsoft.com/office/drawing/2014/chart" uri="{C3380CC4-5D6E-409C-BE32-E72D297353CC}">
              <c16:uniqueId val="{00000001-960F-4F3D-9229-4078A9C1B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1.89360107868038</c:v>
                </c:pt>
                <c:pt idx="1">
                  <c:v>12.18970225041104</c:v>
                </c:pt>
                <c:pt idx="2">
                  <c:v>12.845134012391229</c:v>
                </c:pt>
                <c:pt idx="3">
                  <c:v>12.80376095694127</c:v>
                </c:pt>
                <c:pt idx="4">
                  <c:v>12.793122466292109</c:v>
                </c:pt>
                <c:pt idx="5">
                  <c:v>11.772682053269669</c:v>
                </c:pt>
                <c:pt idx="6">
                  <c:v>11.920215041813339</c:v>
                </c:pt>
                <c:pt idx="7">
                  <c:v>12.40342415353531</c:v>
                </c:pt>
                <c:pt idx="8">
                  <c:v>11.34459763985822</c:v>
                </c:pt>
                <c:pt idx="9">
                  <c:v>11.499401230788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60F-4F3D-9229-4078A9C1B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2948016"/>
        <c:axId val="1"/>
      </c:lineChart>
      <c:catAx>
        <c:axId val="682948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82948016"/>
        <c:crosses val="max"/>
        <c:crossBetween val="between"/>
        <c:majorUnit val="5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"/>
        <c:crosses val="min"/>
        <c:crossBetween val="between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737261852015948E-2"/>
          <c:y val="4.1599999999999998E-2"/>
          <c:w val="0.90651307044749663"/>
          <c:h val="0.91679999999999995"/>
        </c:manualLayout>
      </c:layout>
      <c:barChart>
        <c:barDir val="col"/>
        <c:grouping val="clustered"/>
        <c:varyColors val="0"/>
        <c:ser>
          <c:idx val="1"/>
          <c:order val="1"/>
          <c:invertIfNegative val="0"/>
          <c:extLst>
            <c:ext xmlns:c16="http://schemas.microsoft.com/office/drawing/2014/chart" uri="{C3380CC4-5D6E-409C-BE32-E72D297353CC}">
              <c16:uniqueId val="{00000001-960F-4F3D-9229-4078A9C1B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1.89360107868038</c:v>
                </c:pt>
                <c:pt idx="1">
                  <c:v>12.18970225041104</c:v>
                </c:pt>
                <c:pt idx="2">
                  <c:v>12.845134012391229</c:v>
                </c:pt>
                <c:pt idx="3">
                  <c:v>12.80376095694127</c:v>
                </c:pt>
                <c:pt idx="4">
                  <c:v>12.793122466292109</c:v>
                </c:pt>
                <c:pt idx="5">
                  <c:v>11.772682053269669</c:v>
                </c:pt>
                <c:pt idx="6">
                  <c:v>11.920215041813339</c:v>
                </c:pt>
                <c:pt idx="7">
                  <c:v>12.40342415353531</c:v>
                </c:pt>
                <c:pt idx="8">
                  <c:v>11.34459763985822</c:v>
                </c:pt>
                <c:pt idx="9">
                  <c:v>11.499401230788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60F-4F3D-9229-4078A9C1B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2948016"/>
        <c:axId val="1"/>
      </c:lineChart>
      <c:catAx>
        <c:axId val="682948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82948016"/>
        <c:crosses val="max"/>
        <c:crossBetween val="between"/>
        <c:majorUnit val="5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"/>
        <c:crosses val="min"/>
        <c:crossBetween val="between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3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iriş">
  <p:cSld name="Giriş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;p10"/>
          <p:cNvSpPr/>
          <p:nvPr/>
        </p:nvSpPr>
        <p:spPr>
          <a:xfrm>
            <a:off x="-12095" y="0"/>
            <a:ext cx="12204095" cy="6880981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 t="-964" b="-17254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8;p10"/>
          <p:cNvSpPr/>
          <p:nvPr/>
        </p:nvSpPr>
        <p:spPr>
          <a:xfrm>
            <a:off x="10091145" y="5184371"/>
            <a:ext cx="1694163" cy="1351513"/>
          </a:xfrm>
          <a:custGeom>
            <a:avLst/>
            <a:gdLst/>
            <a:ahLst/>
            <a:cxnLst/>
            <a:rect l="l" t="t" r="r" b="b"/>
            <a:pathLst>
              <a:path w="2541245" h="2027269" extrusionOk="0">
                <a:moveTo>
                  <a:pt x="0" y="0"/>
                </a:moveTo>
                <a:lnTo>
                  <a:pt x="2541245" y="0"/>
                </a:lnTo>
                <a:lnTo>
                  <a:pt x="2541245" y="2027268"/>
                </a:lnTo>
                <a:lnTo>
                  <a:pt x="0" y="202726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" name="Google Shape;9;p10"/>
          <p:cNvGrpSpPr/>
          <p:nvPr/>
        </p:nvGrpSpPr>
        <p:grpSpPr>
          <a:xfrm>
            <a:off x="0" y="1838216"/>
            <a:ext cx="4539898" cy="2892246"/>
            <a:chOff x="0" y="-114300"/>
            <a:chExt cx="1793540" cy="1142616"/>
          </a:xfrm>
        </p:grpSpPr>
        <p:sp>
          <p:nvSpPr>
            <p:cNvPr id="10" name="Google Shape;10;p10"/>
            <p:cNvSpPr/>
            <p:nvPr/>
          </p:nvSpPr>
          <p:spPr>
            <a:xfrm>
              <a:off x="0" y="0"/>
              <a:ext cx="1793540" cy="1028316"/>
            </a:xfrm>
            <a:custGeom>
              <a:avLst/>
              <a:gdLst/>
              <a:ahLst/>
              <a:cxnLst/>
              <a:rect l="l" t="t" r="r" b="b"/>
              <a:pathLst>
                <a:path w="1793540" h="1028316" extrusionOk="0">
                  <a:moveTo>
                    <a:pt x="0" y="0"/>
                  </a:moveTo>
                  <a:lnTo>
                    <a:pt x="1793540" y="0"/>
                  </a:lnTo>
                  <a:lnTo>
                    <a:pt x="1793540" y="1028316"/>
                  </a:lnTo>
                  <a:lnTo>
                    <a:pt x="0" y="1028316"/>
                  </a:lnTo>
                  <a:close/>
                </a:path>
              </a:pathLst>
            </a:custGeom>
            <a:solidFill>
              <a:srgbClr val="13173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11" name="Google Shape;11;p10"/>
            <p:cNvSpPr txBox="1"/>
            <p:nvPr/>
          </p:nvSpPr>
          <p:spPr>
            <a:xfrm>
              <a:off x="0" y="-114300"/>
              <a:ext cx="1793540" cy="11426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31325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sp>
        <p:nvSpPr>
          <p:cNvPr id="12" name="Google Shape;12;p10"/>
          <p:cNvSpPr txBox="1">
            <a:spLocks noGrp="1"/>
          </p:cNvSpPr>
          <p:nvPr>
            <p:ph type="title"/>
          </p:nvPr>
        </p:nvSpPr>
        <p:spPr>
          <a:xfrm>
            <a:off x="176264" y="2493493"/>
            <a:ext cx="4187371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961"/>
              <a:buFont typeface="Proxima Nova"/>
              <a:buNone/>
              <a:defRPr sz="1961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10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spcBef>
                <a:spcPts val="267"/>
              </a:spcBef>
              <a:spcAft>
                <a:spcPts val="0"/>
              </a:spcAft>
              <a:buClr>
                <a:srgbClr val="F89D56"/>
              </a:buClr>
              <a:buSzPts val="1333"/>
              <a:buFont typeface="Arial"/>
              <a:buNone/>
              <a:defRPr sz="1333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marL="914400" marR="0" lvl="1" indent="-228600" algn="l" rtl="0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13"/>
              </a:spcBef>
              <a:spcAft>
                <a:spcPts val="0"/>
              </a:spcAft>
              <a:buClr>
                <a:srgbClr val="888888"/>
              </a:buClr>
              <a:buSzPts val="1067"/>
              <a:buFont typeface="Arial"/>
              <a:buNone/>
              <a:defRPr sz="10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indekiler">
  <p:cSld name="İçindekil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11"/>
          <p:cNvSpPr/>
          <p:nvPr/>
        </p:nvSpPr>
        <p:spPr>
          <a:xfrm>
            <a:off x="605802" y="771273"/>
            <a:ext cx="167379" cy="167650"/>
          </a:xfrm>
          <a:custGeom>
            <a:avLst/>
            <a:gdLst/>
            <a:ahLst/>
            <a:cxnLst/>
            <a:rect l="l" t="t" r="r" b="b"/>
            <a:pathLst>
              <a:path w="251069" h="251475" extrusionOk="0">
                <a:moveTo>
                  <a:pt x="0" y="0"/>
                </a:moveTo>
                <a:lnTo>
                  <a:pt x="251069" y="0"/>
                </a:lnTo>
                <a:lnTo>
                  <a:pt x="251069" y="251475"/>
                </a:lnTo>
                <a:lnTo>
                  <a:pt x="0" y="25147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11"/>
          <p:cNvSpPr txBox="1"/>
          <p:nvPr/>
        </p:nvSpPr>
        <p:spPr>
          <a:xfrm>
            <a:off x="928130" y="686211"/>
            <a:ext cx="2233712" cy="405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21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84" b="1">
                <a:solidFill>
                  <a:srgbClr val="132052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rPr>
              <a:t>İÇİNDEKİLE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İçindekiler">
  <p:cSld name="1_İçindekil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2"/>
          <p:cNvSpPr/>
          <p:nvPr/>
        </p:nvSpPr>
        <p:spPr>
          <a:xfrm>
            <a:off x="605802" y="771273"/>
            <a:ext cx="167379" cy="167650"/>
          </a:xfrm>
          <a:custGeom>
            <a:avLst/>
            <a:gdLst/>
            <a:ahLst/>
            <a:cxnLst/>
            <a:rect l="l" t="t" r="r" b="b"/>
            <a:pathLst>
              <a:path w="251069" h="251475" extrusionOk="0">
                <a:moveTo>
                  <a:pt x="0" y="0"/>
                </a:moveTo>
                <a:lnTo>
                  <a:pt x="251069" y="0"/>
                </a:lnTo>
                <a:lnTo>
                  <a:pt x="251069" y="251475"/>
                </a:lnTo>
                <a:lnTo>
                  <a:pt x="0" y="25147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erik">
  <p:cSld name="İçerik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4780306-8FDB-37DB-CC83-A9D3E550B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5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780306-8FDB-37DB-CC83-A9D3E550B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Google Shape;20;p13"/>
          <p:cNvSpPr/>
          <p:nvPr/>
        </p:nvSpPr>
        <p:spPr>
          <a:xfrm>
            <a:off x="10763605" y="6172200"/>
            <a:ext cx="742595" cy="592403"/>
          </a:xfrm>
          <a:custGeom>
            <a:avLst/>
            <a:gdLst/>
            <a:ahLst/>
            <a:cxnLst/>
            <a:rect l="l" t="t" r="r" b="b"/>
            <a:pathLst>
              <a:path w="1113893" h="888604" extrusionOk="0">
                <a:moveTo>
                  <a:pt x="0" y="0"/>
                </a:moveTo>
                <a:lnTo>
                  <a:pt x="1113893" y="0"/>
                </a:lnTo>
                <a:lnTo>
                  <a:pt x="1113893" y="888604"/>
                </a:lnTo>
                <a:lnTo>
                  <a:pt x="0" y="88860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1" name="Google Shape;21;p13"/>
          <p:cNvCxnSpPr>
            <a:cxnSpLocks/>
          </p:cNvCxnSpPr>
          <p:nvPr/>
        </p:nvCxnSpPr>
        <p:spPr>
          <a:xfrm>
            <a:off x="355600" y="889000"/>
            <a:ext cx="11318783" cy="0"/>
          </a:xfrm>
          <a:prstGeom prst="straightConnector1">
            <a:avLst/>
          </a:prstGeom>
          <a:noFill/>
          <a:ln w="38100" cap="flat" cmpd="sng">
            <a:solidFill>
              <a:srgbClr val="F89D5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22;p13"/>
          <p:cNvSpPr txBox="1"/>
          <p:nvPr/>
        </p:nvSpPr>
        <p:spPr>
          <a:xfrm>
            <a:off x="355600" y="6415841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87">
                <a:solidFill>
                  <a:schemeClr val="dk1"/>
                </a:solidFill>
                <a:latin typeface="+mj-lt"/>
                <a:ea typeface="Proxima Nova"/>
                <a:cs typeface="Proxima Nova"/>
                <a:sym typeface="Proxima Nova"/>
              </a:rPr>
              <a:t>‹#›</a:t>
            </a:fld>
            <a:endParaRPr sz="1487">
              <a:solidFill>
                <a:schemeClr val="dk1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23" name="Google Shape;23;p13"/>
          <p:cNvSpPr txBox="1">
            <a:spLocks noGrp="1"/>
          </p:cNvSpPr>
          <p:nvPr>
            <p:ph type="title" hasCustomPrompt="1"/>
          </p:nvPr>
        </p:nvSpPr>
        <p:spPr>
          <a:xfrm>
            <a:off x="355600" y="164996"/>
            <a:ext cx="11318783" cy="586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Proxima Nova"/>
              <a:buNone/>
              <a:defRPr sz="2200" b="0" i="0" u="none" strike="noStrike" cap="none">
                <a:solidFill>
                  <a:schemeClr val="dk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tr-TR"/>
              <a:t>J</a:t>
            </a:r>
            <a:br>
              <a:rPr lang="tr-TR"/>
            </a:br>
            <a:r>
              <a:rPr lang="tr-TR" err="1"/>
              <a:t>j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şekkürler">
  <p:cSld name="Teşekkürler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14"/>
          <p:cNvSpPr txBox="1"/>
          <p:nvPr/>
        </p:nvSpPr>
        <p:spPr>
          <a:xfrm>
            <a:off x="4818931" y="4189542"/>
            <a:ext cx="2554139" cy="420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TEŞEKKÜRLER</a:t>
            </a:r>
            <a:endParaRPr>
              <a:latin typeface="+mj-lt"/>
            </a:endParaRPr>
          </a:p>
        </p:txBody>
      </p:sp>
      <p:sp>
        <p:nvSpPr>
          <p:cNvPr id="27" name="Google Shape;27;p14"/>
          <p:cNvSpPr/>
          <p:nvPr/>
        </p:nvSpPr>
        <p:spPr>
          <a:xfrm>
            <a:off x="4818931" y="1337187"/>
            <a:ext cx="2554139" cy="2037555"/>
          </a:xfrm>
          <a:custGeom>
            <a:avLst/>
            <a:gdLst/>
            <a:ahLst/>
            <a:cxnLst/>
            <a:rect l="l" t="t" r="r" b="b"/>
            <a:pathLst>
              <a:path w="3831208" h="3056332" extrusionOk="0">
                <a:moveTo>
                  <a:pt x="0" y="0"/>
                </a:moveTo>
                <a:lnTo>
                  <a:pt x="3831208" y="0"/>
                </a:lnTo>
                <a:lnTo>
                  <a:pt x="3831208" y="3056332"/>
                </a:lnTo>
                <a:lnTo>
                  <a:pt x="0" y="305633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ak">
  <p:cSld name="Kapak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5"/>
          <p:cNvSpPr/>
          <p:nvPr/>
        </p:nvSpPr>
        <p:spPr>
          <a:xfrm flipH="1"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30;p15"/>
          <p:cNvSpPr txBox="1"/>
          <p:nvPr/>
        </p:nvSpPr>
        <p:spPr>
          <a:xfrm>
            <a:off x="6908800" y="736600"/>
            <a:ext cx="4781705" cy="44283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7689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letmeler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hedeflerin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ulaş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rekabet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avantaj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kazan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trateji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una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i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anışmanlı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rmasıdı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urums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ijit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önüşüm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edari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zinci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önetim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ib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irço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la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laşmı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l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lerin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enilikç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eçlerin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yile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mka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ağl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eneyimiy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aşarıy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an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kibimiz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her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rojed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itizlik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alışar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letmeniz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ârlılığı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rtırm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yınız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nişle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perasyone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rimliliğiniz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üksel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tk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31" name="Google Shape;31;p15"/>
          <p:cNvSpPr/>
          <p:nvPr/>
        </p:nvSpPr>
        <p:spPr>
          <a:xfrm>
            <a:off x="469723" y="5677876"/>
            <a:ext cx="1239302" cy="988649"/>
          </a:xfrm>
          <a:custGeom>
            <a:avLst/>
            <a:gdLst/>
            <a:ahLst/>
            <a:cxnLst/>
            <a:rect l="l" t="t" r="r" b="b"/>
            <a:pathLst>
              <a:path w="1858953" h="1482973" extrusionOk="0">
                <a:moveTo>
                  <a:pt x="0" y="0"/>
                </a:moveTo>
                <a:lnTo>
                  <a:pt x="1858953" y="0"/>
                </a:lnTo>
                <a:lnTo>
                  <a:pt x="1858953" y="1482974"/>
                </a:lnTo>
                <a:lnTo>
                  <a:pt x="0" y="14829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15"/>
          <p:cNvSpPr txBox="1"/>
          <p:nvPr/>
        </p:nvSpPr>
        <p:spPr>
          <a:xfrm>
            <a:off x="7569200" y="5481177"/>
            <a:ext cx="4219575" cy="494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taköy 7-8-9-10. Kısım Mh. Çobançeşme E5 Yanyol Cd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No: 8/2 A Ofis Kt: 13 No:51 Bakırköy/İSTANBUL</a:t>
            </a:r>
            <a:endParaRPr>
              <a:latin typeface="+mj-lt"/>
            </a:endParaRPr>
          </a:p>
        </p:txBody>
      </p:sp>
      <p:sp>
        <p:nvSpPr>
          <p:cNvPr id="33" name="Google Shape;33;p15"/>
          <p:cNvSpPr txBox="1"/>
          <p:nvPr/>
        </p:nvSpPr>
        <p:spPr>
          <a:xfrm>
            <a:off x="9617280" y="6200166"/>
            <a:ext cx="2073225" cy="291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3997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51">
                <a:solidFill>
                  <a:schemeClr val="lt1"/>
                </a:solidFill>
                <a:latin typeface="+mj-lt"/>
                <a:ea typeface="Proxima Nova"/>
                <a:cs typeface="Proxima Nova"/>
                <a:sym typeface="Proxima Nova"/>
              </a:rPr>
              <a:t>fintegral.com.t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8AD157-0C87-4E5F-B1E0-E84EC195E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78838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AD157-0C87-4E5F-B1E0-E84EC195E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chart" Target="../charts/chart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image" Target="../media/image1.emf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chart" Target="../charts/chart2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3" Type="http://schemas.openxmlformats.org/officeDocument/2006/relationships/tags" Target="../tags/tag60.xml"/><Relationship Id="rId21" Type="http://schemas.openxmlformats.org/officeDocument/2006/relationships/oleObject" Target="../embeddings/oleObject6.bin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slideLayout" Target="../slideLayouts/slideLayout4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chart" Target="../charts/chart3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0F026E1-D27D-3777-9BB5-CD07A2ED5E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4293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F026E1-D27D-3777-9BB5-CD07A2ED5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Google Shape;39;p1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en-US" err="1"/>
              <a:t>Ekim</a:t>
            </a:r>
            <a:r>
              <a:rPr lang="en-US"/>
              <a:t> 2024, </a:t>
            </a:r>
            <a:endParaRPr/>
          </a:p>
          <a:p>
            <a:pPr marL="0" lvl="0" indent="0" algn="l" rtl="0">
              <a:spcBef>
                <a:spcPts val="26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en-US"/>
              <a:t>Batuhan Yelseli</a:t>
            </a:r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D668ED-59D5-E382-7A19-33ECD1C99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/>
              <a:t>Tüketici elektroniği pazar yeri stratejik değerlendirm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3108728-1560-9617-D5FC-BB9B5959D56E}"/>
              </a:ext>
            </a:extLst>
          </p:cNvPr>
          <p:cNvGrpSpPr/>
          <p:nvPr/>
        </p:nvGrpSpPr>
        <p:grpSpPr>
          <a:xfrm>
            <a:off x="685800" y="1527308"/>
            <a:ext cx="3516630" cy="385618"/>
            <a:chOff x="685800" y="1527308"/>
            <a:chExt cx="3516630" cy="385618"/>
          </a:xfrm>
        </p:grpSpPr>
        <p:sp>
          <p:nvSpPr>
            <p:cNvPr id="44" name="Google Shape;44;p2"/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79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tr-TR" sz="1400">
                  <a:solidFill>
                    <a:srgbClr val="132052"/>
                  </a:solidFill>
                  <a:latin typeface="+mj-lt"/>
                  <a:ea typeface="Arial"/>
                  <a:cs typeface="Arial"/>
                  <a:sym typeface="Arial"/>
                </a:rPr>
                <a:t>Yönetici özeti</a:t>
              </a:r>
              <a:endParaRPr sz="1400">
                <a:solidFill>
                  <a:srgbClr val="132052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5" name="Google Shape;45;p2"/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52" name="Google Shape;52;p2"/>
          <p:cNvSpPr/>
          <p:nvPr/>
        </p:nvSpPr>
        <p:spPr>
          <a:xfrm>
            <a:off x="4436135" y="0"/>
            <a:ext cx="8575452" cy="6858000"/>
          </a:xfrm>
          <a:custGeom>
            <a:avLst/>
            <a:gdLst/>
            <a:ahLst/>
            <a:cxnLst/>
            <a:rect l="l" t="t" r="r" b="b"/>
            <a:pathLst>
              <a:path w="12863178" h="11049171" extrusionOk="0">
                <a:moveTo>
                  <a:pt x="0" y="0"/>
                </a:moveTo>
                <a:lnTo>
                  <a:pt x="12863178" y="0"/>
                </a:lnTo>
                <a:lnTo>
                  <a:pt x="12863178" y="11049171"/>
                </a:lnTo>
                <a:lnTo>
                  <a:pt x="0" y="1104917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34985" r="-18055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1F285-0F1E-AD2A-69B0-6397C3F91873}"/>
              </a:ext>
            </a:extLst>
          </p:cNvPr>
          <p:cNvGrpSpPr/>
          <p:nvPr/>
        </p:nvGrpSpPr>
        <p:grpSpPr>
          <a:xfrm>
            <a:off x="685800" y="2278145"/>
            <a:ext cx="3516630" cy="385618"/>
            <a:chOff x="685800" y="1527308"/>
            <a:chExt cx="3516630" cy="385618"/>
          </a:xfrm>
        </p:grpSpPr>
        <p:sp>
          <p:nvSpPr>
            <p:cNvPr id="4" name="Google Shape;44;p2">
              <a:extLst>
                <a:ext uri="{FF2B5EF4-FFF2-40B4-BE49-F238E27FC236}">
                  <a16:creationId xmlns:a16="http://schemas.microsoft.com/office/drawing/2014/main" id="{32E6913F-B29A-099E-A738-7ED96DCE72A9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Global ve yerel pazaryeri sektörü</a:t>
              </a:r>
              <a:endParaRPr lang="tr-TR"/>
            </a:p>
          </p:txBody>
        </p:sp>
        <p:cxnSp>
          <p:nvCxnSpPr>
            <p:cNvPr id="5" name="Google Shape;45;p2">
              <a:extLst>
                <a:ext uri="{FF2B5EF4-FFF2-40B4-BE49-F238E27FC236}">
                  <a16:creationId xmlns:a16="http://schemas.microsoft.com/office/drawing/2014/main" id="{8A1E259C-97B0-A76C-48F2-A9BB56D64BEC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02C7B03-4FAF-1E16-0CA3-25F0785C3FC8}"/>
              </a:ext>
            </a:extLst>
          </p:cNvPr>
          <p:cNvGrpSpPr/>
          <p:nvPr/>
        </p:nvGrpSpPr>
        <p:grpSpPr>
          <a:xfrm>
            <a:off x="685800" y="3028982"/>
            <a:ext cx="3516630" cy="385618"/>
            <a:chOff x="685800" y="1527308"/>
            <a:chExt cx="3516630" cy="385618"/>
          </a:xfrm>
        </p:grpSpPr>
        <p:sp>
          <p:nvSpPr>
            <p:cNvPr id="7" name="Google Shape;44;p2">
              <a:extLst>
                <a:ext uri="{FF2B5EF4-FFF2-40B4-BE49-F238E27FC236}">
                  <a16:creationId xmlns:a16="http://schemas.microsoft.com/office/drawing/2014/main" id="{896D15E7-BB90-4A37-3DF5-B74860808388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Kullanıcı içgörüleri ve trendler</a:t>
              </a:r>
              <a:endParaRPr lang="tr-TR"/>
            </a:p>
          </p:txBody>
        </p:sp>
        <p:cxnSp>
          <p:nvCxnSpPr>
            <p:cNvPr id="8" name="Google Shape;45;p2">
              <a:extLst>
                <a:ext uri="{FF2B5EF4-FFF2-40B4-BE49-F238E27FC236}">
                  <a16:creationId xmlns:a16="http://schemas.microsoft.com/office/drawing/2014/main" id="{7F9399E4-A257-3D77-F235-4E5681D1B42B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8E72CAF-7ACF-B8A3-E95B-09033262E177}"/>
              </a:ext>
            </a:extLst>
          </p:cNvPr>
          <p:cNvGrpSpPr/>
          <p:nvPr/>
        </p:nvGrpSpPr>
        <p:grpSpPr>
          <a:xfrm>
            <a:off x="685800" y="3661066"/>
            <a:ext cx="3516630" cy="771237"/>
            <a:chOff x="685800" y="1527308"/>
            <a:chExt cx="3516630" cy="771237"/>
          </a:xfrm>
        </p:grpSpPr>
        <p:sp>
          <p:nvSpPr>
            <p:cNvPr id="10" name="Google Shape;44;p2">
              <a:extLst>
                <a:ext uri="{FF2B5EF4-FFF2-40B4-BE49-F238E27FC236}">
                  <a16:creationId xmlns:a16="http://schemas.microsoft.com/office/drawing/2014/main" id="{2D3A8575-5F7F-F089-2FC2-9114FEA0A98B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7712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İş vakası yaklaşımı (Bütçe ve finansal analiz, opsiyonlar)</a:t>
              </a:r>
              <a:endParaRPr lang="tr-TR"/>
            </a:p>
          </p:txBody>
        </p:sp>
        <p:cxnSp>
          <p:nvCxnSpPr>
            <p:cNvPr id="11" name="Google Shape;45;p2">
              <a:extLst>
                <a:ext uri="{FF2B5EF4-FFF2-40B4-BE49-F238E27FC236}">
                  <a16:creationId xmlns:a16="http://schemas.microsoft.com/office/drawing/2014/main" id="{3001EE8E-F5BE-231D-6EA6-DB7BBDB86855}"/>
                </a:ext>
              </a:extLst>
            </p:cNvPr>
            <p:cNvCxnSpPr/>
            <p:nvPr/>
          </p:nvCxnSpPr>
          <p:spPr>
            <a:xfrm>
              <a:off x="685800" y="2247719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" name="Group 8">
            <a:extLst>
              <a:ext uri="{FF2B5EF4-FFF2-40B4-BE49-F238E27FC236}">
                <a16:creationId xmlns:a16="http://schemas.microsoft.com/office/drawing/2014/main" id="{6976BC80-68D3-633D-41E2-04C7BC09A752}"/>
              </a:ext>
            </a:extLst>
          </p:cNvPr>
          <p:cNvGrpSpPr/>
          <p:nvPr/>
        </p:nvGrpSpPr>
        <p:grpSpPr>
          <a:xfrm>
            <a:off x="685800" y="4630884"/>
            <a:ext cx="3516630" cy="385618"/>
            <a:chOff x="685800" y="1527308"/>
            <a:chExt cx="3516630" cy="385618"/>
          </a:xfrm>
        </p:grpSpPr>
        <p:sp>
          <p:nvSpPr>
            <p:cNvPr id="13" name="Google Shape;44;p2">
              <a:extLst>
                <a:ext uri="{FF2B5EF4-FFF2-40B4-BE49-F238E27FC236}">
                  <a16:creationId xmlns:a16="http://schemas.microsoft.com/office/drawing/2014/main" id="{993E1443-C725-EB95-2DC0-BCE39F75E2CC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Yol haritası</a:t>
              </a:r>
              <a:endParaRPr lang="tr-TR"/>
            </a:p>
          </p:txBody>
        </p:sp>
        <p:cxnSp>
          <p:nvCxnSpPr>
            <p:cNvPr id="14" name="Google Shape;45;p2">
              <a:extLst>
                <a:ext uri="{FF2B5EF4-FFF2-40B4-BE49-F238E27FC236}">
                  <a16:creationId xmlns:a16="http://schemas.microsoft.com/office/drawing/2014/main" id="{07E268E6-6494-F45A-1D6D-A571D74A286C}"/>
                </a:ext>
              </a:extLst>
            </p:cNvPr>
            <p:cNvCxnSpPr>
              <a:cxnSpLocks/>
            </p:cNvCxnSpPr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F14670-A328-00A1-9CE6-CE088B94F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89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25" imgH="426" progId="TCLayout.ActiveDocument.1">
                  <p:embed/>
                </p:oleObj>
              </mc:Choice>
              <mc:Fallback>
                <p:oleObj name="think-cell Slide" r:id="rId36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F14670-A328-00A1-9CE6-CE088B94F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877133-0E9A-69CF-2FAE-FB2A3737F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2</a:t>
            </a:r>
          </a:p>
        </p:txBody>
      </p:sp>
      <p:graphicFrame>
        <p:nvGraphicFramePr>
          <p:cNvPr id="366" name="Chart 365">
            <a:extLst>
              <a:ext uri="{FF2B5EF4-FFF2-40B4-BE49-F238E27FC236}">
                <a16:creationId xmlns:a16="http://schemas.microsoft.com/office/drawing/2014/main" id="{3B62AD28-DB5C-3D81-373C-20355CB4D5A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515093"/>
              </p:ext>
            </p:extLst>
          </p:nvPr>
        </p:nvGraphicFramePr>
        <p:xfrm>
          <a:off x="693738" y="1089025"/>
          <a:ext cx="11026775" cy="4960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69" name="Rectangle 268">
            <a:extLst>
              <a:ext uri="{FF2B5EF4-FFF2-40B4-BE49-F238E27FC236}">
                <a16:creationId xmlns:a16="http://schemas.microsoft.com/office/drawing/2014/main" id="{B30F0261-9239-ED5F-A4CB-8E27C379B93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85850" y="55657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EAAC47-27CE-40BC-B0F5-30B8753F1032}" type="datetime'''''1''''1''''''''%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38E9C82-A4B7-58C3-6687-FB2E7EEE99E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763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8E0A7C-837C-43AD-97E6-16F62122CAB1}" type="datetime'''''''20''''''''''''''''''''''''1''''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935541BB-05E9-9782-BD98-3C428806426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060575" y="36671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2263A0B-AF8A-4BD2-A714-AC108B4DFC65}" type="datetime'''''''''''''''''''8''''''''''''''''''''9''''''''''''%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E7B10EEB-7F37-4017-5F1F-BBF1BAEE4C3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060575" y="55435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6FE47C-52F0-47F5-950C-1B21E11FF39A}" type="datetime'''''''''11''''''''''%''''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28F6AA9-AA56-B794-383C-E99BF71D830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0510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4D2777-34A7-4C54-93E5-90ADFC13EDC5}" type="datetime'''''''''''''''''''2''''0''''''''''13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9A761D58-F679-88F9-8494-38B59BF5FAAA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033713" y="364331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5C104E-4FD6-4941-BD5D-748389999FF8}" type="datetime'''''''''''8''''''''''''''''9''''''%''''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31631A2C-A0A9-C0B7-13CC-8629F57D0AF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033713" y="55324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A9ED1E-D50D-47F7-97A6-9B6EABB54C9A}" type="datetime'''''''''''''''''''''''''1''''''''''''1''''''''''''''%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41B9E9C-7822-E12A-791F-057DBA376E8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0241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0B278E-F9AB-4110-9C61-1B892D62A44F}" type="datetime'''''''''''''''''''''''''''''''''20''''1''''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A7632757-36BE-6160-CC64-3FA634A443A7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008438" y="38703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E5D942-4570-4B72-9E59-79889FEB0F45}" type="datetime'''''''''''8''''9''''''''''''''%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E6A566E6-11B1-CB1C-30C7-09F2C26943BE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008438" y="55562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C811CA5-4C2E-4F2E-989A-3DDE1342E06E}" type="datetime'''1''1''''''''%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0FCB533-6088-11FE-3394-86A1EE694C8E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99891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BF96EE-0F92-4A7C-A2B4-552291D30F44}" type="datetime'''''''''''2''''''01''''''''''''''''''''''''''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501973E8-D1D2-4CAB-5800-54959F54006D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983163" y="388620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7680FC-0638-4178-AAAC-0F0CE3BF119B}" type="datetime'''''8''''''''''''''''9''''''''''''''''''%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209FDB8B-3262-7872-8CB4-20F4F0991273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983163" y="55578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96A3C7-8D1A-4FAA-A949-C0F238FA820F}" type="datetime'''1''''1''''''%''''''''''''''''''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E76B921-8BA0-08DC-EC1C-A5A428D172E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97363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73FE02-8034-429A-8C61-359422CF4D0B}" type="datetime'2''0''''''''''''''''''''''''''1''''''''''''''6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1707EC08-CE4E-371D-6359-3E30AAEB5A51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957888" y="37417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35F81F-714A-4C33-92DF-79ABACCE930C}" type="datetime'''8''''''''''''''9''''%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FBE4ED5D-0E05-77BA-2004-42FB4B9EA7B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085850" y="38512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55D92E-2D94-441D-9F66-83E34AD49399}" type="datetime'''''''''''''''''''''''''''''''''8''''''''''''''9''''''''''%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9451C56-0E80-70A0-4A24-7A1C59B4BAB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4836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41C2AD-C17B-4AE2-B41A-A82E59ECAF0A}" type="datetime'''2''''''''''''''''''0''''''''''''17''''''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AFF845FA-EF97-70C5-0296-71501CE00308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932613" y="370681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2A2166-618D-4536-852C-AE26974189DC}" type="datetime'''''''89''''''%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561910B6-E590-EBD4-5638-F78BB476EF5F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932613" y="555148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729E7D-6EB7-43AD-B7DF-8659B0AD0B79}" type="datetime'''''''''''1''''''''''''''''''''''''''''''''''''1''''%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6C5B14F-F66C-575B-4B6B-F1CFFBF3CD5B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9230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F3F0D6-3FEC-47C7-A462-24997308BD2C}" type="datetime'''''''''20''1''''''''''''''''''''''''''''''''''''''8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CBDDD2CD-B828-CC72-1462-C3023BBE7043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7905750" y="376078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7F85AD-8E58-4912-9F0E-05BB28B9294D}" type="datetime'''''89''%''''''''''''''''''''''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169A6DC9-6AD6-5504-B4AD-2A062D56FC1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7905750" y="554990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BE5C55-10A0-473F-98E3-06D5D59E8E93}" type="datetime'''''''''''''''''''''''''''''''''''1''''''''1''''''%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E532F6A-44D2-41C8-48E8-77B62F230E8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8962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4FF65A-ECDB-4456-BD25-4484655D4510}" type="datetime'''''''''''2''0''1''''''''9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633A9120-A936-C358-A7F3-897FE625A055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8880475" y="377666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3A91F8-9CCC-408D-BD53-7B527E34CEB6}" type="datetime'''''9''''''''''''0%'''">
              <a:rPr lang="tr-TR" altLang="en-US" kern="1200" smtClean="0">
                <a:solidFill>
                  <a:schemeClr val="bg1"/>
                </a:solidFill>
              </a:rPr>
              <a:pPr/>
              <a:t>90%</a:t>
            </a:fld>
            <a:endParaRPr lang="tr-TR" kern="1200" dirty="0">
              <a:solidFill>
                <a:schemeClr val="bg1"/>
              </a:solidFill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AD7D3068-AB11-3035-7987-FC9E20FC3289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8880475" y="55657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15D661E-E837-4347-9109-EC3132A02DF7}" type="datetime'1''''''''''''''''''''''''''''''''''''''0''''''''''%'''''''">
              <a:rPr lang="tr-TR" altLang="en-US" kern="1200" smtClean="0">
                <a:solidFill>
                  <a:schemeClr val="bg1"/>
                </a:solidFill>
              </a:rPr>
              <a:pPr/>
              <a:t>1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8845E64-9530-3F5D-C78C-9077E9F465F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8709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AE059C8-28CC-4EEF-B6C2-1D682A2F109D}" type="datetime'''''''''''''2''''''''''''''''''''''''''''0''''''''''2''0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44F948F9-4B3E-A178-B651-47E82D5CF58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9855200" y="32988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916576-1B02-4EFF-9C8B-663AB8496BCD}" type="datetime'''''''''''''''''''9''''''''''0''%'">
              <a:rPr lang="tr-TR" altLang="en-US" kern="1200" smtClean="0">
                <a:solidFill>
                  <a:schemeClr val="bg1"/>
                </a:solidFill>
              </a:rPr>
              <a:pPr/>
              <a:t>9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2C852723-8FB9-A408-4818-683E6E043F20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9855200" y="55197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47E0D2-39B0-4E15-AD4F-84C2270B5064}" type="datetime'''1''''''''''''''''''''''''''''''''''''''''0''''''%'''''">
              <a:rPr lang="tr-TR" altLang="en-US" kern="1200" smtClean="0">
                <a:solidFill>
                  <a:schemeClr val="bg1"/>
                </a:solidFill>
              </a:rPr>
              <a:pPr/>
              <a:t>1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F383885-2383-3CDD-8753-28134366C8D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84567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A6AF78-7ECD-4800-9F56-E33B22C77E86}" type="datetime'''''''''2''''''''''''''''0''2''''1''''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6DC1F13-D0DD-9BBB-F908-78DDC3218BD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93688" y="3840163"/>
            <a:ext cx="55562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C3FCD13-369D-4297-9069-8691907221FD}" type="datetime'''''''''Se''r''i''''''''e''''s'' ''''2''''''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eries 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7548B9C-1262-972C-27FE-B750D79D62B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293688" y="5554663"/>
            <a:ext cx="55562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6ED9535-EAA5-48A3-91F6-1FCC9DD0F2BE}" type="datetime'''''''''''''''''''''''Ser''i''e''''''''s'''''''''''' ''3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eries 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199A404E-7DB9-753B-FEA1-68DFCCD7D240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5957888" y="55562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EE3C3F-4F08-499B-AA00-C866FA371A07}" type="datetime'''''''1''''''''''''''''''''''''''1''%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606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5E891C-CBAB-7F40-F189-1B8919E368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71CF8A-CAF2-6EBA-5368-90434991C2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481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6" progId="TCLayout.ActiveDocument.1">
                  <p:embed/>
                </p:oleObj>
              </mc:Choice>
              <mc:Fallback>
                <p:oleObj name="think-cell Slide" r:id="rId2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71CF8A-CAF2-6EBA-5368-90434991C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AA2C03-77E5-E9FF-42FB-2456EE8F4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2</a:t>
            </a:r>
          </a:p>
        </p:txBody>
      </p:sp>
      <p:graphicFrame>
        <p:nvGraphicFramePr>
          <p:cNvPr id="188" name="Chart 187">
            <a:extLst>
              <a:ext uri="{FF2B5EF4-FFF2-40B4-BE49-F238E27FC236}">
                <a16:creationId xmlns:a16="http://schemas.microsoft.com/office/drawing/2014/main" id="{278139D3-6CE8-2DA6-CF73-8F1934249C1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151259"/>
              </p:ext>
            </p:extLst>
          </p:nvPr>
        </p:nvGraphicFramePr>
        <p:xfrm>
          <a:off x="455613" y="1154113"/>
          <a:ext cx="10748962" cy="4960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C5FA7D5-0E7B-A16C-9F4E-1ED6241A391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236200" y="2897188"/>
            <a:ext cx="0" cy="358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9375BB7-EDCC-42B2-18E8-C1FF9347782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286750" y="2897188"/>
            <a:ext cx="1949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7D80620-E2C9-0154-66BB-DEA9F949D7A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86750" y="28971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975A46FA-97AE-1D8E-9B01-48A3F291748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0800000">
            <a:off x="10774363" y="30702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875D970-3812-1F62-D9C4-AAC5859710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79488" y="3146425"/>
            <a:ext cx="9744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3E9F1F75-4021-E92C-3FB5-3259B6E56D9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27952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8C4C45-3695-8C37-D5DF-7A406FD7B0F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54250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FA9605-EB2E-6CD9-EE02-3C1527136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22738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398599D-315C-1B83-0AC7-A49EF39A88F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202113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17A7B25-7BDD-13B5-300B-66A0DCE222F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17683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1ACAB09-F112-8BB0-41D7-61A6DB96892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151563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BFC80D0-9BA7-5A34-05AC-5195C5B084B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12628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3A26D38-7D44-3AB5-F264-76C525055AB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09942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6085410-C76B-EBD9-A398-9527CC61790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074150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44543A5-1D2D-7E42-A7E9-0194FAFF5FF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04887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371C815-064C-7820-BBDD-081A023339F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953750" y="3040063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267825C-0CA7-4FDA-96D3-4986B5B3A4AC}" type="datetime'''1''2'''''''''''''''''">
              <a:rPr lang="tr-TR" altLang="en-US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217962B5-07D1-A6BB-D924-2FCFE734D1B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916988" y="2746375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-</a:t>
            </a:r>
            <a:fld id="{59FD62AF-C895-4B77-8BFB-5EA57B13B425}" type="datetime'''''''''7'''''''''''''',2''''''9%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7,29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0203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DF1CA-B54C-D124-6945-B8B5B9991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A0D5A41-EF8F-6BFD-C51C-F00BED654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6" progId="TCLayout.ActiveDocument.1">
                  <p:embed/>
                </p:oleObj>
              </mc:Choice>
              <mc:Fallback>
                <p:oleObj name="think-cell Slide" r:id="rId2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0D5A41-EF8F-6BFD-C51C-F00BED654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C1AABC-6CC5-02E9-F3DD-F4BFD4667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2</a:t>
            </a:r>
          </a:p>
        </p:txBody>
      </p:sp>
      <p:graphicFrame>
        <p:nvGraphicFramePr>
          <p:cNvPr id="188" name="Chart 187">
            <a:extLst>
              <a:ext uri="{FF2B5EF4-FFF2-40B4-BE49-F238E27FC236}">
                <a16:creationId xmlns:a16="http://schemas.microsoft.com/office/drawing/2014/main" id="{B18192F9-3842-CF87-70F4-24612B5E5782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55613" y="1154113"/>
          <a:ext cx="10748962" cy="4960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39BE704-5FFB-187F-5910-7F4F654B6F7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236200" y="2897188"/>
            <a:ext cx="0" cy="358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858670-0D3D-06A7-E6EA-75749847BA4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286750" y="2897188"/>
            <a:ext cx="1949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F65613B-5AF8-3BA6-1A03-D7322B43DC9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86750" y="28971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963CB4EA-6FD1-6595-17B5-AD6C0AF3750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0800000">
            <a:off x="10774363" y="30702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F13D739-EF78-B566-CDE5-78E461F77BC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79488" y="3146425"/>
            <a:ext cx="9744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FA2D5528-DEEF-B2C1-6E84-9779BD3A847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27952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C58AB59-612A-7359-6DC7-B2BC85FBD01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54250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9F50942-6E48-65F3-53A8-70AB3D64670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22738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DB2F648-646E-5E64-2D72-28E258F690B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202113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C7DD847-AAF7-307F-362A-7587D75E94E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17683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D35223A-6CFD-4D47-AF31-AC8E6BD6DD9F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151563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667CF5B-4640-ECB4-CA46-0BE16959D8D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12628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6BF7F31-E3E7-52EF-1D77-3505E28AD86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09942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AA8E9E9-8999-81A0-9424-068D977BF37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074150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787DA9C-0DA0-3301-B0C0-67576D5DD97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04887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829F8D0-B922-9926-7BF3-B89D3B2A784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953750" y="3040063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267825C-0CA7-4FDA-96D3-4986B5B3A4AC}" type="datetime'''1''2'''''''''''''''''">
              <a:rPr lang="tr-TR" altLang="en-US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7F4AF3A-7808-79F4-BB30-459383D5E01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916988" y="2746375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-</a:t>
            </a:r>
            <a:fld id="{59FD62AF-C895-4B77-8BFB-5EA57B13B425}" type="datetime'''''''''7'''''''''''''',2''''''9%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7,29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243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3"/>
          <p:cNvSpPr/>
          <p:nvPr/>
        </p:nvSpPr>
        <p:spPr>
          <a:xfrm>
            <a:off x="4436135" y="0"/>
            <a:ext cx="8575452" cy="6858000"/>
          </a:xfrm>
          <a:custGeom>
            <a:avLst/>
            <a:gdLst/>
            <a:ahLst/>
            <a:cxnLst/>
            <a:rect l="l" t="t" r="r" b="b"/>
            <a:pathLst>
              <a:path w="12863178" h="11049171" extrusionOk="0">
                <a:moveTo>
                  <a:pt x="0" y="0"/>
                </a:moveTo>
                <a:lnTo>
                  <a:pt x="12863178" y="0"/>
                </a:lnTo>
                <a:lnTo>
                  <a:pt x="12863178" y="11049171"/>
                </a:lnTo>
                <a:lnTo>
                  <a:pt x="0" y="1104917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34985" r="-18055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58;p3"/>
          <p:cNvSpPr txBox="1"/>
          <p:nvPr/>
        </p:nvSpPr>
        <p:spPr>
          <a:xfrm>
            <a:off x="762001" y="635000"/>
            <a:ext cx="3048000" cy="296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294142"/>
              </a:lnSpc>
              <a:spcBef>
                <a:spcPts val="0"/>
              </a:spcBef>
              <a:spcAft>
                <a:spcPts val="0"/>
              </a:spcAft>
              <a:buClr>
                <a:srgbClr val="0B0E2F"/>
              </a:buClr>
              <a:buSzPts val="1400"/>
              <a:buFont typeface="Proxima Nova"/>
              <a:buNone/>
            </a:pPr>
            <a:r>
              <a:rPr lang="tr-TR" sz="1400">
                <a:solidFill>
                  <a:srgbClr val="0B0E2F"/>
                </a:solidFill>
                <a:latin typeface="+mj-lt"/>
                <a:ea typeface="Proxima Nova"/>
                <a:cs typeface="Proxima Nova"/>
                <a:sym typeface="Proxima Nova"/>
              </a:rPr>
              <a:t>Yönetici özeti</a:t>
            </a:r>
            <a:endParaRPr sz="1400">
              <a:solidFill>
                <a:srgbClr val="0B0E2F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5"/>
          <p:cNvSpPr/>
          <p:nvPr/>
        </p:nvSpPr>
        <p:spPr>
          <a:xfrm>
            <a:off x="4436135" y="0"/>
            <a:ext cx="8575452" cy="6858000"/>
          </a:xfrm>
          <a:custGeom>
            <a:avLst/>
            <a:gdLst/>
            <a:ahLst/>
            <a:cxnLst/>
            <a:rect l="l" t="t" r="r" b="b"/>
            <a:pathLst>
              <a:path w="12863178" h="11049171" extrusionOk="0">
                <a:moveTo>
                  <a:pt x="0" y="0"/>
                </a:moveTo>
                <a:lnTo>
                  <a:pt x="12863178" y="0"/>
                </a:lnTo>
                <a:lnTo>
                  <a:pt x="12863178" y="11049171"/>
                </a:lnTo>
                <a:lnTo>
                  <a:pt x="0" y="1104917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34985" r="-18055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69;p5"/>
          <p:cNvSpPr txBox="1"/>
          <p:nvPr/>
        </p:nvSpPr>
        <p:spPr>
          <a:xfrm>
            <a:off x="762001" y="635000"/>
            <a:ext cx="3048000" cy="296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294142"/>
              </a:lnSpc>
              <a:spcBef>
                <a:spcPts val="0"/>
              </a:spcBef>
              <a:spcAft>
                <a:spcPts val="0"/>
              </a:spcAft>
              <a:buClr>
                <a:srgbClr val="0B0E2F"/>
              </a:buClr>
              <a:buSzPts val="1400"/>
              <a:buFont typeface="Proxima Nova"/>
              <a:buNone/>
            </a:pPr>
            <a:r>
              <a:rPr lang="tr-TR">
                <a:solidFill>
                  <a:srgbClr val="0B0E2F"/>
                </a:solidFill>
                <a:latin typeface="+mj-lt"/>
                <a:ea typeface="Proxima Nova"/>
                <a:cs typeface="Proxima Nova"/>
                <a:sym typeface="Proxima Nova"/>
              </a:rPr>
              <a:t>Pazaryerleri yaşam döngüsü</a:t>
            </a:r>
            <a:endParaRPr sz="1400">
              <a:solidFill>
                <a:srgbClr val="0B0E2F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VVHirG.6Cz9Zp6l.Wt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1efbhGra5_PxdB0cTn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yRbM2RRj68MYuyv1rD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WcH6cPM9HqJte5haKm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Zj8Pj09OVdFiT0pIu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pxmJsp6k5HaFIF4Oqf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yS5dofP87ETBqdqmqu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N5_a8K.K_urWNLRZzn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3qDm5ShNX2CW51PcsI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px9r2dOxEZ7kVG6jU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eXtRhEMihplyDOHJDg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A.QmON2zyLDmCTFL3Y6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z7l5Fq3BaD4iBQ3C3e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0T2eCyoCWCmhXO2_Co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48bMiJoLhiSewFm1MM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5SgU1K61ERFihA6yWT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hV4OOa9o7e2Ia8DQ.T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l90wKkIYmMCLK_HNW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Neb870Me7ceMJqkX.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RmRZgMZ2SnFMYPF.K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DLrZNo47I1iJULosmz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FZf_62ki8drmpKKMw4rQ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3">
      <a:majorFont>
        <a:latin typeface="Calibri Light (Headings)"/>
        <a:ea typeface=""/>
        <a:cs typeface=""/>
      </a:majorFont>
      <a:minorFont>
        <a:latin typeface="Calibri Light (Headings)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45</TotalTime>
  <Words>101</Words>
  <Application>Microsoft Office PowerPoint</Application>
  <PresentationFormat>Widescreen</PresentationFormat>
  <Paragraphs>69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Proxima Nova</vt:lpstr>
      <vt:lpstr>Arial</vt:lpstr>
      <vt:lpstr>Calibri</vt:lpstr>
      <vt:lpstr>Office Theme</vt:lpstr>
      <vt:lpstr>think-cell Slide</vt:lpstr>
      <vt:lpstr>Tüketici elektroniği pazar yeri stratejik değerlendirme</vt:lpstr>
      <vt:lpstr>PowerPoint Presentation</vt:lpstr>
      <vt:lpstr>2</vt:lpstr>
      <vt:lpstr>2</vt:lpstr>
      <vt:lpstr>2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Batuhan Yelseli</dc:creator>
  <cp:lastModifiedBy>Oğuz Öztekin</cp:lastModifiedBy>
  <cp:revision>50</cp:revision>
  <dcterms:created xsi:type="dcterms:W3CDTF">2006-08-16T00:00:00Z</dcterms:created>
  <dcterms:modified xsi:type="dcterms:W3CDTF">2024-12-16T09:21:28Z</dcterms:modified>
</cp:coreProperties>
</file>